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embedTrueTypeFonts="1" saveSubsetFonts="1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7728" r:id="rId2"/>
    <p:sldId id="9596" r:id="rId3"/>
    <p:sldId id="9816" r:id="rId4"/>
    <p:sldId id="7733" r:id="rId5"/>
  </p:sldIdLst>
  <p:sldSz cx="10693400" cy="7561263"/>
  <p:notesSz cx="7104063" cy="10234613"/>
  <p:embeddedFontLst>
    <p:embeddedFont>
      <p:font typeface="Avenir Next LT Pro" panose="020B0504020202020204" pitchFamily="34" charset="0"/>
      <p:regular r:id="rId8"/>
      <p:bold r:id="rId9"/>
      <p:italic r:id="rId10"/>
      <p:boldItalic r:id="rId11"/>
    </p:embeddedFont>
    <p:embeddedFont>
      <p:font typeface="Roboto" panose="02000000000000000000" pitchFamily="2" charset="0"/>
      <p:regular r:id="rId12"/>
      <p:bold r:id="rId13"/>
      <p:italic r:id="rId14"/>
      <p:boldItalic r:id="rId15"/>
    </p:embeddedFont>
    <p:embeddedFont>
      <p:font typeface="Roboto Mono" panose="00000009000000000000" pitchFamily="49" charset="0"/>
      <p:regular r:id="rId16"/>
      <p:bold r:id="rId17"/>
      <p:italic r:id="rId18"/>
      <p:boldItalic r:id="rId19"/>
    </p:embeddedFont>
  </p:embeddedFontLst>
  <p:custDataLst>
    <p:tags r:id="rId20"/>
  </p:custDataLst>
  <p:defaultTextStyle>
    <a:defPPr>
      <a:defRPr lang="en-US"/>
    </a:defPPr>
    <a:lvl1pPr marL="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498559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99712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495679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199424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492799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299136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489919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398848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554" userDrawn="1">
          <p15:clr>
            <a:srgbClr val="A4A3A4"/>
          </p15:clr>
        </p15:guide>
        <p15:guide id="2" pos="336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rankin" initials="r" lastIdx="20" clrIdx="0"/>
  <p:cmAuthor id="1" name="Patricia Floro" initials="PF" lastIdx="18" clrIdx="1">
    <p:extLst>
      <p:ext uri="{19B8F6BF-5375-455C-9EA6-DF929625EA0E}">
        <p15:presenceInfo xmlns:p15="http://schemas.microsoft.com/office/powerpoint/2012/main" userId="2ab73c2250db9cd6" providerId="Windows Live"/>
      </p:ext>
    </p:extLst>
  </p:cmAuthor>
  <p:cmAuthor id="2" name="Kitty Bachmann" initials="KB" lastIdx="18" clrIdx="2">
    <p:extLst>
      <p:ext uri="{19B8F6BF-5375-455C-9EA6-DF929625EA0E}">
        <p15:presenceInfo xmlns:p15="http://schemas.microsoft.com/office/powerpoint/2012/main" userId="S::kib@capital-four.com::79705564-69af-411c-b260-25511e27e2b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1242"/>
    <a:srgbClr val="786F62"/>
    <a:srgbClr val="AFAFAF"/>
    <a:srgbClr val="F0F3F6"/>
    <a:srgbClr val="636463"/>
    <a:srgbClr val="838483"/>
    <a:srgbClr val="96AAE4"/>
    <a:srgbClr val="0032A0"/>
    <a:srgbClr val="E8E8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C76697C-40B7-4358-B92F-731A6812AE60}" v="117" dt="2024-10-09T15:54:17.03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2" autoAdjust="0"/>
    <p:restoredTop sz="92159" autoAdjust="0"/>
  </p:normalViewPr>
  <p:slideViewPr>
    <p:cSldViewPr showGuides="1">
      <p:cViewPr>
        <p:scale>
          <a:sx n="75" d="100"/>
          <a:sy n="75" d="100"/>
        </p:scale>
        <p:origin x="828" y="438"/>
      </p:cViewPr>
      <p:guideLst>
        <p:guide orient="horz" pos="3554"/>
        <p:guide pos="336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1824"/>
    </p:cViewPr>
  </p:sorterViewPr>
  <p:notesViewPr>
    <p:cSldViewPr showGuides="1">
      <p:cViewPr varScale="1">
        <p:scale>
          <a:sx n="112" d="100"/>
          <a:sy n="112" d="100"/>
        </p:scale>
        <p:origin x="4269" y="39"/>
      </p:cViewPr>
      <p:guideLst>
        <p:guide orient="horz" pos="3224"/>
        <p:guide pos="2239"/>
      </p:guideLst>
    </p:cSldViewPr>
  </p:notesViewPr>
  <p:gridSpacing cx="39601" cy="39601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font" Target="fonts/font11.fntdata"/><Relationship Id="rId26" Type="http://schemas.microsoft.com/office/2016/11/relationships/changesInfo" Target="changesInfos/changesInfo1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handoutMaster" Target="handoutMasters/handoutMaster1.xml"/><Relationship Id="rId12" Type="http://schemas.openxmlformats.org/officeDocument/2006/relationships/font" Target="fonts/font5.fntdata"/><Relationship Id="rId17" Type="http://schemas.openxmlformats.org/officeDocument/2006/relationships/font" Target="fonts/font10.fntdata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font" Target="fonts/font9.fntdata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4.fntdata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font" Target="fonts/font8.fntdata"/><Relationship Id="rId23" Type="http://schemas.openxmlformats.org/officeDocument/2006/relationships/viewProps" Target="viewProps.xml"/><Relationship Id="rId10" Type="http://schemas.openxmlformats.org/officeDocument/2006/relationships/font" Target="fonts/font3.fntdata"/><Relationship Id="rId19" Type="http://schemas.openxmlformats.org/officeDocument/2006/relationships/font" Target="fonts/font12.fntdata"/><Relationship Id="rId4" Type="http://schemas.openxmlformats.org/officeDocument/2006/relationships/slide" Target="slides/slide3.xml"/><Relationship Id="rId9" Type="http://schemas.openxmlformats.org/officeDocument/2006/relationships/font" Target="fonts/font2.fntdata"/><Relationship Id="rId14" Type="http://schemas.openxmlformats.org/officeDocument/2006/relationships/font" Target="fonts/font7.fntdata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ierre Høgenhaug" userId="5f239db8-0158-4fa1-a859-fc1b00175be2" providerId="ADAL" clId="{6C76697C-40B7-4358-B92F-731A6812AE60}"/>
    <pc:docChg chg="undo redo custSel addSld delSld modSld sldOrd">
      <pc:chgData name="Pierre Høgenhaug" userId="5f239db8-0158-4fa1-a859-fc1b00175be2" providerId="ADAL" clId="{6C76697C-40B7-4358-B92F-731A6812AE60}" dt="2024-10-09T15:56:29.917" v="3305" actId="20577"/>
      <pc:docMkLst>
        <pc:docMk/>
      </pc:docMkLst>
      <pc:sldChg chg="del">
        <pc:chgData name="Pierre Høgenhaug" userId="5f239db8-0158-4fa1-a859-fc1b00175be2" providerId="ADAL" clId="{6C76697C-40B7-4358-B92F-731A6812AE60}" dt="2024-10-09T10:54:14.830" v="1" actId="47"/>
        <pc:sldMkLst>
          <pc:docMk/>
          <pc:sldMk cId="3642967219" sldId="7708"/>
        </pc:sldMkLst>
      </pc:sldChg>
      <pc:sldChg chg="modSp mod">
        <pc:chgData name="Pierre Høgenhaug" userId="5f239db8-0158-4fa1-a859-fc1b00175be2" providerId="ADAL" clId="{6C76697C-40B7-4358-B92F-731A6812AE60}" dt="2024-10-09T10:55:47.204" v="17" actId="20577"/>
        <pc:sldMkLst>
          <pc:docMk/>
          <pc:sldMk cId="1296903930" sldId="7728"/>
        </pc:sldMkLst>
        <pc:spChg chg="mod">
          <ac:chgData name="Pierre Høgenhaug" userId="5f239db8-0158-4fa1-a859-fc1b00175be2" providerId="ADAL" clId="{6C76697C-40B7-4358-B92F-731A6812AE60}" dt="2024-10-09T10:55:33.957" v="10" actId="6549"/>
          <ac:spMkLst>
            <pc:docMk/>
            <pc:sldMk cId="1296903930" sldId="7728"/>
            <ac:spMk id="5" creationId="{AC337A46-B614-4DB8-8714-683A1C1A1F4D}"/>
          </ac:spMkLst>
        </pc:spChg>
        <pc:spChg chg="mod">
          <ac:chgData name="Pierre Høgenhaug" userId="5f239db8-0158-4fa1-a859-fc1b00175be2" providerId="ADAL" clId="{6C76697C-40B7-4358-B92F-731A6812AE60}" dt="2024-10-09T10:55:47.204" v="17" actId="20577"/>
          <ac:spMkLst>
            <pc:docMk/>
            <pc:sldMk cId="1296903930" sldId="7728"/>
            <ac:spMk id="6" creationId="{72378D1F-E0B1-4FD5-9F63-7E24C31D62C1}"/>
          </ac:spMkLst>
        </pc:spChg>
      </pc:sldChg>
      <pc:sldChg chg="addSp delSp modSp mod">
        <pc:chgData name="Pierre Høgenhaug" userId="5f239db8-0158-4fa1-a859-fc1b00175be2" providerId="ADAL" clId="{6C76697C-40B7-4358-B92F-731A6812AE60}" dt="2024-10-09T15:02:52.310" v="2658" actId="20577"/>
        <pc:sldMkLst>
          <pc:docMk/>
          <pc:sldMk cId="977298906" sldId="7733"/>
        </pc:sldMkLst>
        <pc:spChg chg="add mod">
          <ac:chgData name="Pierre Høgenhaug" userId="5f239db8-0158-4fa1-a859-fc1b00175be2" providerId="ADAL" clId="{6C76697C-40B7-4358-B92F-731A6812AE60}" dt="2024-10-09T12:57:34.880" v="495"/>
          <ac:spMkLst>
            <pc:docMk/>
            <pc:sldMk cId="977298906" sldId="7733"/>
            <ac:spMk id="2" creationId="{5AC2C680-7131-53EE-DCB2-6F0149D55A9C}"/>
          </ac:spMkLst>
        </pc:spChg>
        <pc:spChg chg="mod">
          <ac:chgData name="Pierre Høgenhaug" userId="5f239db8-0158-4fa1-a859-fc1b00175be2" providerId="ADAL" clId="{6C76697C-40B7-4358-B92F-731A6812AE60}" dt="2024-10-09T14:18:21.718" v="1808" actId="255"/>
          <ac:spMkLst>
            <pc:docMk/>
            <pc:sldMk cId="977298906" sldId="7733"/>
            <ac:spMk id="6" creationId="{CFE9A3E5-80DA-3789-EA6E-6AF4CE12F160}"/>
          </ac:spMkLst>
        </pc:spChg>
        <pc:spChg chg="mod">
          <ac:chgData name="Pierre Høgenhaug" userId="5f239db8-0158-4fa1-a859-fc1b00175be2" providerId="ADAL" clId="{6C76697C-40B7-4358-B92F-731A6812AE60}" dt="2024-10-09T13:38:12.533" v="868" actId="20577"/>
          <ac:spMkLst>
            <pc:docMk/>
            <pc:sldMk cId="977298906" sldId="7733"/>
            <ac:spMk id="7" creationId="{2438BED5-ED2A-4C73-8186-DD252E4439E3}"/>
          </ac:spMkLst>
        </pc:spChg>
        <pc:spChg chg="mod">
          <ac:chgData name="Pierre Høgenhaug" userId="5f239db8-0158-4fa1-a859-fc1b00175be2" providerId="ADAL" clId="{6C76697C-40B7-4358-B92F-731A6812AE60}" dt="2024-10-09T13:42:51.826" v="949" actId="20577"/>
          <ac:spMkLst>
            <pc:docMk/>
            <pc:sldMk cId="977298906" sldId="7733"/>
            <ac:spMk id="8" creationId="{C27C2BDF-822B-45EA-AAC1-2B69A9C01FE5}"/>
          </ac:spMkLst>
        </pc:spChg>
        <pc:spChg chg="mod">
          <ac:chgData name="Pierre Høgenhaug" userId="5f239db8-0158-4fa1-a859-fc1b00175be2" providerId="ADAL" clId="{6C76697C-40B7-4358-B92F-731A6812AE60}" dt="2024-10-09T13:34:13.505" v="734" actId="20577"/>
          <ac:spMkLst>
            <pc:docMk/>
            <pc:sldMk cId="977298906" sldId="7733"/>
            <ac:spMk id="9" creationId="{9B2F6D08-98D9-4AF4-8F4B-12410E54E742}"/>
          </ac:spMkLst>
        </pc:spChg>
        <pc:spChg chg="mod">
          <ac:chgData name="Pierre Høgenhaug" userId="5f239db8-0158-4fa1-a859-fc1b00175be2" providerId="ADAL" clId="{6C76697C-40B7-4358-B92F-731A6812AE60}" dt="2024-10-09T14:01:00.005" v="1386" actId="1037"/>
          <ac:spMkLst>
            <pc:docMk/>
            <pc:sldMk cId="977298906" sldId="7733"/>
            <ac:spMk id="10" creationId="{D53137A3-7D2C-419A-AA15-AB114F8EA2F0}"/>
          </ac:spMkLst>
        </pc:spChg>
        <pc:spChg chg="mod">
          <ac:chgData name="Pierre Høgenhaug" userId="5f239db8-0158-4fa1-a859-fc1b00175be2" providerId="ADAL" clId="{6C76697C-40B7-4358-B92F-731A6812AE60}" dt="2024-10-09T13:48:29.111" v="1067" actId="20577"/>
          <ac:spMkLst>
            <pc:docMk/>
            <pc:sldMk cId="977298906" sldId="7733"/>
            <ac:spMk id="11" creationId="{1706B387-EB85-48D5-A997-85E7DB46D1C1}"/>
          </ac:spMkLst>
        </pc:spChg>
        <pc:spChg chg="mod">
          <ac:chgData name="Pierre Høgenhaug" userId="5f239db8-0158-4fa1-a859-fc1b00175be2" providerId="ADAL" clId="{6C76697C-40B7-4358-B92F-731A6812AE60}" dt="2024-10-09T14:04:29.698" v="1414" actId="1076"/>
          <ac:spMkLst>
            <pc:docMk/>
            <pc:sldMk cId="977298906" sldId="7733"/>
            <ac:spMk id="13" creationId="{456B499A-3C16-4A5E-894E-177978ACD5EC}"/>
          </ac:spMkLst>
        </pc:spChg>
        <pc:spChg chg="mod">
          <ac:chgData name="Pierre Høgenhaug" userId="5f239db8-0158-4fa1-a859-fc1b00175be2" providerId="ADAL" clId="{6C76697C-40B7-4358-B92F-731A6812AE60}" dt="2024-10-09T13:46:44.632" v="1035" actId="1076"/>
          <ac:spMkLst>
            <pc:docMk/>
            <pc:sldMk cId="977298906" sldId="7733"/>
            <ac:spMk id="14" creationId="{6D9A4BE7-D32A-4679-95C8-DD2FE160FF70}"/>
          </ac:spMkLst>
        </pc:spChg>
        <pc:spChg chg="mod">
          <ac:chgData name="Pierre Høgenhaug" userId="5f239db8-0158-4fa1-a859-fc1b00175be2" providerId="ADAL" clId="{6C76697C-40B7-4358-B92F-731A6812AE60}" dt="2024-10-09T14:26:46.094" v="1903" actId="20577"/>
          <ac:spMkLst>
            <pc:docMk/>
            <pc:sldMk cId="977298906" sldId="7733"/>
            <ac:spMk id="18" creationId="{ECFBDFDD-21F6-4E79-BA7E-7AF7CA20E7D8}"/>
          </ac:spMkLst>
        </pc:spChg>
        <pc:spChg chg="mod">
          <ac:chgData name="Pierre Høgenhaug" userId="5f239db8-0158-4fa1-a859-fc1b00175be2" providerId="ADAL" clId="{6C76697C-40B7-4358-B92F-731A6812AE60}" dt="2024-10-09T14:55:20.633" v="2495" actId="20577"/>
          <ac:spMkLst>
            <pc:docMk/>
            <pc:sldMk cId="977298906" sldId="7733"/>
            <ac:spMk id="19" creationId="{9C5F9735-3916-4F4B-B4B5-229E9CC12691}"/>
          </ac:spMkLst>
        </pc:spChg>
        <pc:spChg chg="mod">
          <ac:chgData name="Pierre Høgenhaug" userId="5f239db8-0158-4fa1-a859-fc1b00175be2" providerId="ADAL" clId="{6C76697C-40B7-4358-B92F-731A6812AE60}" dt="2024-10-09T13:32:12.369" v="694" actId="478"/>
          <ac:spMkLst>
            <pc:docMk/>
            <pc:sldMk cId="977298906" sldId="7733"/>
            <ac:spMk id="26" creationId="{EAF6524C-CFEB-4F75-B87D-C912D0C8AF5D}"/>
          </ac:spMkLst>
        </pc:spChg>
        <pc:spChg chg="mod">
          <ac:chgData name="Pierre Høgenhaug" userId="5f239db8-0158-4fa1-a859-fc1b00175be2" providerId="ADAL" clId="{6C76697C-40B7-4358-B92F-731A6812AE60}" dt="2024-10-09T13:54:00.173" v="1376" actId="14100"/>
          <ac:spMkLst>
            <pc:docMk/>
            <pc:sldMk cId="977298906" sldId="7733"/>
            <ac:spMk id="27" creationId="{89F45252-E9D9-41B9-B8EB-8AF6965309CC}"/>
          </ac:spMkLst>
        </pc:spChg>
        <pc:spChg chg="mod">
          <ac:chgData name="Pierre Høgenhaug" userId="5f239db8-0158-4fa1-a859-fc1b00175be2" providerId="ADAL" clId="{6C76697C-40B7-4358-B92F-731A6812AE60}" dt="2024-10-09T13:52:33.607" v="1301" actId="1037"/>
          <ac:spMkLst>
            <pc:docMk/>
            <pc:sldMk cId="977298906" sldId="7733"/>
            <ac:spMk id="33" creationId="{F0E07C58-6D08-45BD-85B5-926C5DF81F8D}"/>
          </ac:spMkLst>
        </pc:spChg>
        <pc:spChg chg="mod">
          <ac:chgData name="Pierre Høgenhaug" userId="5f239db8-0158-4fa1-a859-fc1b00175be2" providerId="ADAL" clId="{6C76697C-40B7-4358-B92F-731A6812AE60}" dt="2024-10-09T13:44:26.467" v="1008" actId="20577"/>
          <ac:spMkLst>
            <pc:docMk/>
            <pc:sldMk cId="977298906" sldId="7733"/>
            <ac:spMk id="37" creationId="{CFEF1975-FD46-0CB0-8116-3A80CD2B9602}"/>
          </ac:spMkLst>
        </pc:spChg>
        <pc:spChg chg="mod">
          <ac:chgData name="Pierre Høgenhaug" userId="5f239db8-0158-4fa1-a859-fc1b00175be2" providerId="ADAL" clId="{6C76697C-40B7-4358-B92F-731A6812AE60}" dt="2024-10-09T13:33:45.541" v="711" actId="20577"/>
          <ac:spMkLst>
            <pc:docMk/>
            <pc:sldMk cId="977298906" sldId="7733"/>
            <ac:spMk id="39" creationId="{04397459-2BB7-4DD2-B9FF-91B1E39245E5}"/>
          </ac:spMkLst>
        </pc:spChg>
        <pc:spChg chg="add mod">
          <ac:chgData name="Pierre Høgenhaug" userId="5f239db8-0158-4fa1-a859-fc1b00175be2" providerId="ADAL" clId="{6C76697C-40B7-4358-B92F-731A6812AE60}" dt="2024-10-09T13:47:24.808" v="1043" actId="1076"/>
          <ac:spMkLst>
            <pc:docMk/>
            <pc:sldMk cId="977298906" sldId="7733"/>
            <ac:spMk id="42" creationId="{7249D1AC-372E-8D28-F505-2A255963F296}"/>
          </ac:spMkLst>
        </pc:spChg>
        <pc:spChg chg="add">
          <ac:chgData name="Pierre Høgenhaug" userId="5f239db8-0158-4fa1-a859-fc1b00175be2" providerId="ADAL" clId="{6C76697C-40B7-4358-B92F-731A6812AE60}" dt="2024-10-09T14:03:31.770" v="1401"/>
          <ac:spMkLst>
            <pc:docMk/>
            <pc:sldMk cId="977298906" sldId="7733"/>
            <ac:spMk id="44" creationId="{7AC49300-A2EA-598E-4EF5-25ACA6372028}"/>
          </ac:spMkLst>
        </pc:spChg>
        <pc:spChg chg="add">
          <ac:chgData name="Pierre Høgenhaug" userId="5f239db8-0158-4fa1-a859-fc1b00175be2" providerId="ADAL" clId="{6C76697C-40B7-4358-B92F-731A6812AE60}" dt="2024-10-09T14:03:38.133" v="1402"/>
          <ac:spMkLst>
            <pc:docMk/>
            <pc:sldMk cId="977298906" sldId="7733"/>
            <ac:spMk id="45" creationId="{1A9198C6-7B70-6258-47F3-6FFEF6EA2B60}"/>
          </ac:spMkLst>
        </pc:spChg>
        <pc:spChg chg="add mod">
          <ac:chgData name="Pierre Høgenhaug" userId="5f239db8-0158-4fa1-a859-fc1b00175be2" providerId="ADAL" clId="{6C76697C-40B7-4358-B92F-731A6812AE60}" dt="2024-10-09T15:02:52.310" v="2658" actId="20577"/>
          <ac:spMkLst>
            <pc:docMk/>
            <pc:sldMk cId="977298906" sldId="7733"/>
            <ac:spMk id="51" creationId="{DAD48244-E077-C3A4-F9CE-EFB775625969}"/>
          </ac:spMkLst>
        </pc:spChg>
        <pc:grpChg chg="del mod">
          <ac:chgData name="Pierre Høgenhaug" userId="5f239db8-0158-4fa1-a859-fc1b00175be2" providerId="ADAL" clId="{6C76697C-40B7-4358-B92F-731A6812AE60}" dt="2024-10-09T13:45:55.904" v="1014" actId="478"/>
          <ac:grpSpMkLst>
            <pc:docMk/>
            <pc:sldMk cId="977298906" sldId="7733"/>
            <ac:grpSpMk id="21" creationId="{2C1B86CC-F560-44A4-B533-890FC440205B}"/>
          </ac:grpSpMkLst>
        </pc:grpChg>
        <pc:grpChg chg="mod">
          <ac:chgData name="Pierre Høgenhaug" userId="5f239db8-0158-4fa1-a859-fc1b00175be2" providerId="ADAL" clId="{6C76697C-40B7-4358-B92F-731A6812AE60}" dt="2024-10-09T13:52:33.607" v="1301" actId="1037"/>
          <ac:grpSpMkLst>
            <pc:docMk/>
            <pc:sldMk cId="977298906" sldId="7733"/>
            <ac:grpSpMk id="29" creationId="{A72301AB-FBB9-4AED-BFF8-D446E1EB10E5}"/>
          </ac:grpSpMkLst>
        </pc:grpChg>
        <pc:grpChg chg="mod">
          <ac:chgData name="Pierre Høgenhaug" userId="5f239db8-0158-4fa1-a859-fc1b00175be2" providerId="ADAL" clId="{6C76697C-40B7-4358-B92F-731A6812AE60}" dt="2024-10-09T13:52:33.607" v="1301" actId="1037"/>
          <ac:grpSpMkLst>
            <pc:docMk/>
            <pc:sldMk cId="977298906" sldId="7733"/>
            <ac:grpSpMk id="30" creationId="{050FEDEB-68F7-42C9-9D41-A5CF0F87AF81}"/>
          </ac:grpSpMkLst>
        </pc:grpChg>
        <pc:picChg chg="add mod">
          <ac:chgData name="Pierre Høgenhaug" userId="5f239db8-0158-4fa1-a859-fc1b00175be2" providerId="ADAL" clId="{6C76697C-40B7-4358-B92F-731A6812AE60}" dt="2024-10-09T13:31:59.308" v="692"/>
          <ac:picMkLst>
            <pc:docMk/>
            <pc:sldMk cId="977298906" sldId="7733"/>
            <ac:picMk id="3" creationId="{0F965E14-A34D-CF5A-EA59-8474B62044D4}"/>
          </ac:picMkLst>
        </pc:picChg>
        <pc:picChg chg="add mod">
          <ac:chgData name="Pierre Høgenhaug" userId="5f239db8-0158-4fa1-a859-fc1b00175be2" providerId="ADAL" clId="{6C76697C-40B7-4358-B92F-731A6812AE60}" dt="2024-10-09T13:47:28.944" v="1044" actId="1076"/>
          <ac:picMkLst>
            <pc:docMk/>
            <pc:sldMk cId="977298906" sldId="7733"/>
            <ac:picMk id="4" creationId="{2989F8C3-3E58-9D07-202A-BD745244D7B7}"/>
          </ac:picMkLst>
        </pc:picChg>
        <pc:picChg chg="del">
          <ac:chgData name="Pierre Høgenhaug" userId="5f239db8-0158-4fa1-a859-fc1b00175be2" providerId="ADAL" clId="{6C76697C-40B7-4358-B92F-731A6812AE60}" dt="2024-10-09T14:02:18.598" v="1393" actId="478"/>
          <ac:picMkLst>
            <pc:docMk/>
            <pc:sldMk cId="977298906" sldId="7733"/>
            <ac:picMk id="15" creationId="{0C7DD6F1-5969-499D-916B-99D4BC630267}"/>
          </ac:picMkLst>
        </pc:picChg>
        <pc:picChg chg="del">
          <ac:chgData name="Pierre Høgenhaug" userId="5f239db8-0158-4fa1-a859-fc1b00175be2" providerId="ADAL" clId="{6C76697C-40B7-4358-B92F-731A6812AE60}" dt="2024-10-09T14:02:26.791" v="1395" actId="478"/>
          <ac:picMkLst>
            <pc:docMk/>
            <pc:sldMk cId="977298906" sldId="7733"/>
            <ac:picMk id="16" creationId="{5AEC2C04-E638-45DD-B8CE-D0C6E29BFEBC}"/>
          </ac:picMkLst>
        </pc:picChg>
        <pc:picChg chg="del mod">
          <ac:chgData name="Pierre Høgenhaug" userId="5f239db8-0158-4fa1-a859-fc1b00175be2" providerId="ADAL" clId="{6C76697C-40B7-4358-B92F-731A6812AE60}" dt="2024-10-09T14:05:07.145" v="1420" actId="478"/>
          <ac:picMkLst>
            <pc:docMk/>
            <pc:sldMk cId="977298906" sldId="7733"/>
            <ac:picMk id="17" creationId="{935A77E3-5418-43BB-A491-03EAD6A433FF}"/>
          </ac:picMkLst>
        </pc:picChg>
        <pc:picChg chg="del">
          <ac:chgData name="Pierre Høgenhaug" userId="5f239db8-0158-4fa1-a859-fc1b00175be2" providerId="ADAL" clId="{6C76697C-40B7-4358-B92F-731A6812AE60}" dt="2024-10-09T13:32:12.369" v="694" actId="478"/>
          <ac:picMkLst>
            <pc:docMk/>
            <pc:sldMk cId="977298906" sldId="7733"/>
            <ac:picMk id="22" creationId="{66B55DE8-8F93-4FEE-8E26-31CBEF0B3E2E}"/>
          </ac:picMkLst>
        </pc:picChg>
        <pc:picChg chg="del mod">
          <ac:chgData name="Pierre Høgenhaug" userId="5f239db8-0158-4fa1-a859-fc1b00175be2" providerId="ADAL" clId="{6C76697C-40B7-4358-B92F-731A6812AE60}" dt="2024-10-09T13:37:21.604" v="835" actId="478"/>
          <ac:picMkLst>
            <pc:docMk/>
            <pc:sldMk cId="977298906" sldId="7733"/>
            <ac:picMk id="23" creationId="{EB3CDF30-D4C8-447D-BEBA-EC32448642CF}"/>
          </ac:picMkLst>
        </pc:picChg>
        <pc:picChg chg="del mod">
          <ac:chgData name="Pierre Høgenhaug" userId="5f239db8-0158-4fa1-a859-fc1b00175be2" providerId="ADAL" clId="{6C76697C-40B7-4358-B92F-731A6812AE60}" dt="2024-10-09T13:36:56.702" v="830" actId="478"/>
          <ac:picMkLst>
            <pc:docMk/>
            <pc:sldMk cId="977298906" sldId="7733"/>
            <ac:picMk id="24" creationId="{DBDF2D88-AA2F-4CF0-8CBE-43176F3EB0A7}"/>
          </ac:picMkLst>
        </pc:picChg>
        <pc:picChg chg="mod">
          <ac:chgData name="Pierre Høgenhaug" userId="5f239db8-0158-4fa1-a859-fc1b00175be2" providerId="ADAL" clId="{6C76697C-40B7-4358-B92F-731A6812AE60}" dt="2024-10-09T13:36:38.012" v="823" actId="1036"/>
          <ac:picMkLst>
            <pc:docMk/>
            <pc:sldMk cId="977298906" sldId="7733"/>
            <ac:picMk id="25" creationId="{5965C2F7-70CC-4D7F-93B5-6E14395660FC}"/>
          </ac:picMkLst>
        </pc:picChg>
        <pc:picChg chg="del">
          <ac:chgData name="Pierre Høgenhaug" userId="5f239db8-0158-4fa1-a859-fc1b00175be2" providerId="ADAL" clId="{6C76697C-40B7-4358-B92F-731A6812AE60}" dt="2024-10-09T13:41:12.664" v="876" actId="478"/>
          <ac:picMkLst>
            <pc:docMk/>
            <pc:sldMk cId="977298906" sldId="7733"/>
            <ac:picMk id="31" creationId="{E690312A-0C90-4900-B094-8A7536F34398}"/>
          </ac:picMkLst>
        </pc:picChg>
        <pc:picChg chg="del">
          <ac:chgData name="Pierre Høgenhaug" userId="5f239db8-0158-4fa1-a859-fc1b00175be2" providerId="ADAL" clId="{6C76697C-40B7-4358-B92F-731A6812AE60}" dt="2024-10-09T13:39:35.706" v="872" actId="478"/>
          <ac:picMkLst>
            <pc:docMk/>
            <pc:sldMk cId="977298906" sldId="7733"/>
            <ac:picMk id="32" creationId="{FC473154-8196-464A-B2D1-5C62C0ED0156}"/>
          </ac:picMkLst>
        </pc:picChg>
        <pc:picChg chg="mod">
          <ac:chgData name="Pierre Høgenhaug" userId="5f239db8-0158-4fa1-a859-fc1b00175be2" providerId="ADAL" clId="{6C76697C-40B7-4358-B92F-731A6812AE60}" dt="2024-10-09T13:52:33.607" v="1301" actId="1037"/>
          <ac:picMkLst>
            <pc:docMk/>
            <pc:sldMk cId="977298906" sldId="7733"/>
            <ac:picMk id="34" creationId="{5A64972F-4C97-49AA-8606-0466D5F8A7B4}"/>
          </ac:picMkLst>
        </pc:picChg>
        <pc:picChg chg="mod">
          <ac:chgData name="Pierre Høgenhaug" userId="5f239db8-0158-4fa1-a859-fc1b00175be2" providerId="ADAL" clId="{6C76697C-40B7-4358-B92F-731A6812AE60}" dt="2024-10-09T13:52:33.607" v="1301" actId="1037"/>
          <ac:picMkLst>
            <pc:docMk/>
            <pc:sldMk cId="977298906" sldId="7733"/>
            <ac:picMk id="35" creationId="{C13A9F5C-F76B-4841-BB4D-C17A232830EF}"/>
          </ac:picMkLst>
        </pc:picChg>
        <pc:picChg chg="del">
          <ac:chgData name="Pierre Høgenhaug" userId="5f239db8-0158-4fa1-a859-fc1b00175be2" providerId="ADAL" clId="{6C76697C-40B7-4358-B92F-731A6812AE60}" dt="2024-10-09T13:39:16.223" v="869" actId="478"/>
          <ac:picMkLst>
            <pc:docMk/>
            <pc:sldMk cId="977298906" sldId="7733"/>
            <ac:picMk id="36" creationId="{E63D9D0B-B29C-46CF-A803-B6E5CCEDA034}"/>
          </ac:picMkLst>
        </pc:picChg>
        <pc:picChg chg="add mod">
          <ac:chgData name="Pierre Høgenhaug" userId="5f239db8-0158-4fa1-a859-fc1b00175be2" providerId="ADAL" clId="{6C76697C-40B7-4358-B92F-731A6812AE60}" dt="2024-10-09T13:47:09.552" v="1040" actId="1076"/>
          <ac:picMkLst>
            <pc:docMk/>
            <pc:sldMk cId="977298906" sldId="7733"/>
            <ac:picMk id="38" creationId="{033FDFB6-5220-1AC5-F650-300997768D28}"/>
          </ac:picMkLst>
        </pc:picChg>
        <pc:picChg chg="add mod">
          <ac:chgData name="Pierre Høgenhaug" userId="5f239db8-0158-4fa1-a859-fc1b00175be2" providerId="ADAL" clId="{6C76697C-40B7-4358-B92F-731A6812AE60}" dt="2024-10-09T13:46:47.016" v="1036" actId="1076"/>
          <ac:picMkLst>
            <pc:docMk/>
            <pc:sldMk cId="977298906" sldId="7733"/>
            <ac:picMk id="40" creationId="{A23279BF-C95D-9026-7414-97BF92573FFA}"/>
          </ac:picMkLst>
        </pc:picChg>
        <pc:picChg chg="add mod">
          <ac:chgData name="Pierre Høgenhaug" userId="5f239db8-0158-4fa1-a859-fc1b00175be2" providerId="ADAL" clId="{6C76697C-40B7-4358-B92F-731A6812AE60}" dt="2024-10-09T13:52:33.607" v="1301" actId="1037"/>
          <ac:picMkLst>
            <pc:docMk/>
            <pc:sldMk cId="977298906" sldId="7733"/>
            <ac:picMk id="41" creationId="{25078909-4B72-2EA9-C2A0-4513B3112712}"/>
          </ac:picMkLst>
        </pc:picChg>
        <pc:picChg chg="add mod">
          <ac:chgData name="Pierre Høgenhaug" userId="5f239db8-0158-4fa1-a859-fc1b00175be2" providerId="ADAL" clId="{6C76697C-40B7-4358-B92F-731A6812AE60}" dt="2024-10-09T13:47:15.878" v="1041" actId="1076"/>
          <ac:picMkLst>
            <pc:docMk/>
            <pc:sldMk cId="977298906" sldId="7733"/>
            <ac:picMk id="43" creationId="{12D12F59-CFA0-7B0C-37CC-33B1D5BBF973}"/>
          </ac:picMkLst>
        </pc:picChg>
        <pc:picChg chg="add del mod">
          <ac:chgData name="Pierre Høgenhaug" userId="5f239db8-0158-4fa1-a859-fc1b00175be2" providerId="ADAL" clId="{6C76697C-40B7-4358-B92F-731A6812AE60}" dt="2024-10-09T14:04:59.528" v="1417" actId="478"/>
          <ac:picMkLst>
            <pc:docMk/>
            <pc:sldMk cId="977298906" sldId="7733"/>
            <ac:picMk id="46" creationId="{6D054B8C-FD7F-036C-8D80-9842D4A6ACF7}"/>
          </ac:picMkLst>
        </pc:picChg>
        <pc:picChg chg="add del mod">
          <ac:chgData name="Pierre Høgenhaug" userId="5f239db8-0158-4fa1-a859-fc1b00175be2" providerId="ADAL" clId="{6C76697C-40B7-4358-B92F-731A6812AE60}" dt="2024-10-09T14:25:42.981" v="1871" actId="478"/>
          <ac:picMkLst>
            <pc:docMk/>
            <pc:sldMk cId="977298906" sldId="7733"/>
            <ac:picMk id="48" creationId="{E32C911B-C61A-ABFB-0817-4970F7A29729}"/>
          </ac:picMkLst>
        </pc:picChg>
        <pc:picChg chg="add del mod">
          <ac:chgData name="Pierre Høgenhaug" userId="5f239db8-0158-4fa1-a859-fc1b00175be2" providerId="ADAL" clId="{6C76697C-40B7-4358-B92F-731A6812AE60}" dt="2024-10-09T14:47:06.369" v="2435" actId="21"/>
          <ac:picMkLst>
            <pc:docMk/>
            <pc:sldMk cId="977298906" sldId="7733"/>
            <ac:picMk id="50" creationId="{5F8E7537-0558-75B8-B605-E2BCC3330931}"/>
          </ac:picMkLst>
        </pc:picChg>
        <pc:picChg chg="add mod">
          <ac:chgData name="Pierre Høgenhaug" userId="5f239db8-0158-4fa1-a859-fc1b00175be2" providerId="ADAL" clId="{6C76697C-40B7-4358-B92F-731A6812AE60}" dt="2024-10-09T14:05:20.041" v="1428" actId="1038"/>
          <ac:picMkLst>
            <pc:docMk/>
            <pc:sldMk cId="977298906" sldId="7733"/>
            <ac:picMk id="1026" creationId="{FE0D24DC-A667-F798-0B4F-4C249AA9F52F}"/>
          </ac:picMkLst>
        </pc:picChg>
        <pc:picChg chg="add mod">
          <ac:chgData name="Pierre Høgenhaug" userId="5f239db8-0158-4fa1-a859-fc1b00175be2" providerId="ADAL" clId="{6C76697C-40B7-4358-B92F-731A6812AE60}" dt="2024-10-09T13:47:21.863" v="1042" actId="1076"/>
          <ac:picMkLst>
            <pc:docMk/>
            <pc:sldMk cId="977298906" sldId="7733"/>
            <ac:picMk id="1028" creationId="{D8A22596-B272-0D65-0F56-C5D94A4B9E06}"/>
          </ac:picMkLst>
        </pc:picChg>
        <pc:picChg chg="add mod">
          <ac:chgData name="Pierre Høgenhaug" userId="5f239db8-0158-4fa1-a859-fc1b00175be2" providerId="ADAL" clId="{6C76697C-40B7-4358-B92F-731A6812AE60}" dt="2024-10-09T14:02:30.489" v="1396" actId="1076"/>
          <ac:picMkLst>
            <pc:docMk/>
            <pc:sldMk cId="977298906" sldId="7733"/>
            <ac:picMk id="1030" creationId="{90B64C66-038D-028B-EA21-413F469A77A5}"/>
          </ac:picMkLst>
        </pc:picChg>
        <pc:picChg chg="add mod">
          <ac:chgData name="Pierre Høgenhaug" userId="5f239db8-0158-4fa1-a859-fc1b00175be2" providerId="ADAL" clId="{6C76697C-40B7-4358-B92F-731A6812AE60}" dt="2024-10-09T14:05:15.368" v="1422" actId="1076"/>
          <ac:picMkLst>
            <pc:docMk/>
            <pc:sldMk cId="977298906" sldId="7733"/>
            <ac:picMk id="1036" creationId="{641A0EF9-E3E9-C589-D619-9A6A9DB9389F}"/>
          </ac:picMkLst>
        </pc:picChg>
        <pc:picChg chg="add mod">
          <ac:chgData name="Pierre Høgenhaug" userId="5f239db8-0158-4fa1-a859-fc1b00175be2" providerId="ADAL" clId="{6C76697C-40B7-4358-B92F-731A6812AE60}" dt="2024-10-09T14:05:22.886" v="1434" actId="1037"/>
          <ac:picMkLst>
            <pc:docMk/>
            <pc:sldMk cId="977298906" sldId="7733"/>
            <ac:picMk id="1038" creationId="{83E60D42-A06A-3273-C7FF-319F1FE2912D}"/>
          </ac:picMkLst>
        </pc:picChg>
      </pc:sldChg>
      <pc:sldChg chg="del">
        <pc:chgData name="Pierre Høgenhaug" userId="5f239db8-0158-4fa1-a859-fc1b00175be2" providerId="ADAL" clId="{6C76697C-40B7-4358-B92F-731A6812AE60}" dt="2024-10-09T12:11:26.001" v="18" actId="47"/>
        <pc:sldMkLst>
          <pc:docMk/>
          <pc:sldMk cId="1506404205" sldId="7736"/>
        </pc:sldMkLst>
      </pc:sldChg>
      <pc:sldChg chg="addSp delSp modSp mod ord">
        <pc:chgData name="Pierre Høgenhaug" userId="5f239db8-0158-4fa1-a859-fc1b00175be2" providerId="ADAL" clId="{6C76697C-40B7-4358-B92F-731A6812AE60}" dt="2024-10-09T15:26:11.204" v="3173" actId="20577"/>
        <pc:sldMkLst>
          <pc:docMk/>
          <pc:sldMk cId="2223383869" sldId="9596"/>
        </pc:sldMkLst>
        <pc:spChg chg="mod">
          <ac:chgData name="Pierre Høgenhaug" userId="5f239db8-0158-4fa1-a859-fc1b00175be2" providerId="ADAL" clId="{6C76697C-40B7-4358-B92F-731A6812AE60}" dt="2024-10-09T15:26:11.204" v="3173" actId="20577"/>
          <ac:spMkLst>
            <pc:docMk/>
            <pc:sldMk cId="2223383869" sldId="9596"/>
            <ac:spMk id="2" creationId="{7025DEDB-96AD-4BE9-91BD-139A5539E2B9}"/>
          </ac:spMkLst>
        </pc:spChg>
        <pc:spChg chg="add del mod ord">
          <ac:chgData name="Pierre Høgenhaug" userId="5f239db8-0158-4fa1-a859-fc1b00175be2" providerId="ADAL" clId="{6C76697C-40B7-4358-B92F-731A6812AE60}" dt="2024-10-09T14:09:12.531" v="1443" actId="478"/>
          <ac:spMkLst>
            <pc:docMk/>
            <pc:sldMk cId="2223383869" sldId="9596"/>
            <ac:spMk id="5" creationId="{EAD762A4-092C-DEB9-ED3A-10794AA4107E}"/>
          </ac:spMkLst>
        </pc:spChg>
        <pc:spChg chg="del mod ord">
          <ac:chgData name="Pierre Høgenhaug" userId="5f239db8-0158-4fa1-a859-fc1b00175be2" providerId="ADAL" clId="{6C76697C-40B7-4358-B92F-731A6812AE60}" dt="2024-10-09T14:13:31.547" v="1629" actId="478"/>
          <ac:spMkLst>
            <pc:docMk/>
            <pc:sldMk cId="2223383869" sldId="9596"/>
            <ac:spMk id="7" creationId="{608B0EFA-E3E9-4205-831D-7399BC72C66F}"/>
          </ac:spMkLst>
        </pc:spChg>
        <pc:spChg chg="add del mod ord">
          <ac:chgData name="Pierre Høgenhaug" userId="5f239db8-0158-4fa1-a859-fc1b00175be2" providerId="ADAL" clId="{6C76697C-40B7-4358-B92F-731A6812AE60}" dt="2024-10-09T14:09:13.600" v="1445" actId="478"/>
          <ac:spMkLst>
            <pc:docMk/>
            <pc:sldMk cId="2223383869" sldId="9596"/>
            <ac:spMk id="9" creationId="{349DB202-A3E2-4A4E-C37A-9F1E1305E6A6}"/>
          </ac:spMkLst>
        </pc:spChg>
        <pc:spChg chg="add del mod">
          <ac:chgData name="Pierre Høgenhaug" userId="5f239db8-0158-4fa1-a859-fc1b00175be2" providerId="ADAL" clId="{6C76697C-40B7-4358-B92F-731A6812AE60}" dt="2024-10-09T14:09:10.692" v="1442" actId="478"/>
          <ac:spMkLst>
            <pc:docMk/>
            <pc:sldMk cId="2223383869" sldId="9596"/>
            <ac:spMk id="11" creationId="{194548D5-25DC-E5AB-5555-D4729873B17D}"/>
          </ac:spMkLst>
        </pc:spChg>
        <pc:spChg chg="add del mod">
          <ac:chgData name="Pierre Høgenhaug" userId="5f239db8-0158-4fa1-a859-fc1b00175be2" providerId="ADAL" clId="{6C76697C-40B7-4358-B92F-731A6812AE60}" dt="2024-10-09T14:09:13.285" v="1444" actId="478"/>
          <ac:spMkLst>
            <pc:docMk/>
            <pc:sldMk cId="2223383869" sldId="9596"/>
            <ac:spMk id="12" creationId="{9D2F1AAB-E2AD-8667-F8D1-B24D6C991346}"/>
          </ac:spMkLst>
        </pc:spChg>
        <pc:spChg chg="add del mod ord">
          <ac:chgData name="Pierre Høgenhaug" userId="5f239db8-0158-4fa1-a859-fc1b00175be2" providerId="ADAL" clId="{6C76697C-40B7-4358-B92F-731A6812AE60}" dt="2024-10-09T14:09:15.751" v="1446" actId="478"/>
          <ac:spMkLst>
            <pc:docMk/>
            <pc:sldMk cId="2223383869" sldId="9596"/>
            <ac:spMk id="13" creationId="{8BEA58BB-13D4-B297-0859-2EC45658B4DA}"/>
          </ac:spMkLst>
        </pc:spChg>
        <pc:spChg chg="add del mod">
          <ac:chgData name="Pierre Høgenhaug" userId="5f239db8-0158-4fa1-a859-fc1b00175be2" providerId="ADAL" clId="{6C76697C-40B7-4358-B92F-731A6812AE60}" dt="2024-10-09T14:09:16.442" v="1447" actId="478"/>
          <ac:spMkLst>
            <pc:docMk/>
            <pc:sldMk cId="2223383869" sldId="9596"/>
            <ac:spMk id="14" creationId="{7B9E1DAB-84C5-6AFD-D1B2-B17C1F3C8BDB}"/>
          </ac:spMkLst>
        </pc:spChg>
        <pc:spChg chg="add mod">
          <ac:chgData name="Pierre Høgenhaug" userId="5f239db8-0158-4fa1-a859-fc1b00175be2" providerId="ADAL" clId="{6C76697C-40B7-4358-B92F-731A6812AE60}" dt="2024-10-09T14:42:27.136" v="2379" actId="2710"/>
          <ac:spMkLst>
            <pc:docMk/>
            <pc:sldMk cId="2223383869" sldId="9596"/>
            <ac:spMk id="19" creationId="{915208B9-B703-AAE5-27A4-2DEE86CD9F77}"/>
          </ac:spMkLst>
        </pc:spChg>
        <pc:spChg chg="add del mod">
          <ac:chgData name="Pierre Høgenhaug" userId="5f239db8-0158-4fa1-a859-fc1b00175be2" providerId="ADAL" clId="{6C76697C-40B7-4358-B92F-731A6812AE60}" dt="2024-10-09T14:36:12.766" v="2254" actId="478"/>
          <ac:spMkLst>
            <pc:docMk/>
            <pc:sldMk cId="2223383869" sldId="9596"/>
            <ac:spMk id="20" creationId="{781C0F66-EF1F-03D6-1E74-E103C47C0400}"/>
          </ac:spMkLst>
        </pc:spChg>
        <pc:spChg chg="add del mod">
          <ac:chgData name="Pierre Høgenhaug" userId="5f239db8-0158-4fa1-a859-fc1b00175be2" providerId="ADAL" clId="{6C76697C-40B7-4358-B92F-731A6812AE60}" dt="2024-10-09T14:36:12.100" v="2253" actId="478"/>
          <ac:spMkLst>
            <pc:docMk/>
            <pc:sldMk cId="2223383869" sldId="9596"/>
            <ac:spMk id="21" creationId="{F9540D16-9B9A-96A0-CC60-0D4F60F2072F}"/>
          </ac:spMkLst>
        </pc:spChg>
        <pc:spChg chg="add del">
          <ac:chgData name="Pierre Høgenhaug" userId="5f239db8-0158-4fa1-a859-fc1b00175be2" providerId="ADAL" clId="{6C76697C-40B7-4358-B92F-731A6812AE60}" dt="2024-10-09T14:39:22.247" v="2340" actId="22"/>
          <ac:spMkLst>
            <pc:docMk/>
            <pc:sldMk cId="2223383869" sldId="9596"/>
            <ac:spMk id="23" creationId="{5116AEAB-C3C6-E903-CA09-6C04E55B71B1}"/>
          </ac:spMkLst>
        </pc:spChg>
        <pc:spChg chg="add mod ord">
          <ac:chgData name="Pierre Høgenhaug" userId="5f239db8-0158-4fa1-a859-fc1b00175be2" providerId="ADAL" clId="{6C76697C-40B7-4358-B92F-731A6812AE60}" dt="2024-10-09T15:23:47.853" v="3099" actId="20577"/>
          <ac:spMkLst>
            <pc:docMk/>
            <pc:sldMk cId="2223383869" sldId="9596"/>
            <ac:spMk id="25" creationId="{B6255092-F8ED-CC92-3AA6-DD01A220306E}"/>
          </ac:spMkLst>
        </pc:spChg>
        <pc:spChg chg="add mod">
          <ac:chgData name="Pierre Høgenhaug" userId="5f239db8-0158-4fa1-a859-fc1b00175be2" providerId="ADAL" clId="{6C76697C-40B7-4358-B92F-731A6812AE60}" dt="2024-10-09T14:54:01.870" v="2470" actId="1036"/>
          <ac:spMkLst>
            <pc:docMk/>
            <pc:sldMk cId="2223383869" sldId="9596"/>
            <ac:spMk id="27" creationId="{0AD5A6F6-B267-458D-49A4-08A694D126A1}"/>
          </ac:spMkLst>
        </pc:spChg>
        <pc:spChg chg="add mod">
          <ac:chgData name="Pierre Høgenhaug" userId="5f239db8-0158-4fa1-a859-fc1b00175be2" providerId="ADAL" clId="{6C76697C-40B7-4358-B92F-731A6812AE60}" dt="2024-10-09T14:54:03.913" v="2471" actId="1035"/>
          <ac:spMkLst>
            <pc:docMk/>
            <pc:sldMk cId="2223383869" sldId="9596"/>
            <ac:spMk id="29" creationId="{2ACBFD16-D8F5-D4E1-43AD-4D7E55980BD3}"/>
          </ac:spMkLst>
        </pc:spChg>
        <pc:spChg chg="add mod ord">
          <ac:chgData name="Pierre Høgenhaug" userId="5f239db8-0158-4fa1-a859-fc1b00175be2" providerId="ADAL" clId="{6C76697C-40B7-4358-B92F-731A6812AE60}" dt="2024-10-09T14:54:33.001" v="2479" actId="1076"/>
          <ac:spMkLst>
            <pc:docMk/>
            <pc:sldMk cId="2223383869" sldId="9596"/>
            <ac:spMk id="30" creationId="{75AD24DE-9B30-94A7-63EA-9BD7D7B62633}"/>
          </ac:spMkLst>
        </pc:spChg>
        <pc:picChg chg="add del mod">
          <ac:chgData name="Pierre Høgenhaug" userId="5f239db8-0158-4fa1-a859-fc1b00175be2" providerId="ADAL" clId="{6C76697C-40B7-4358-B92F-731A6812AE60}" dt="2024-10-09T13:23:37.726" v="673" actId="478"/>
          <ac:picMkLst>
            <pc:docMk/>
            <pc:sldMk cId="2223383869" sldId="9596"/>
            <ac:picMk id="4" creationId="{66908942-BF7B-EBF6-3D92-0B12BF575AF5}"/>
          </ac:picMkLst>
        </pc:picChg>
        <pc:picChg chg="add del mod">
          <ac:chgData name="Pierre Høgenhaug" userId="5f239db8-0158-4fa1-a859-fc1b00175be2" providerId="ADAL" clId="{6C76697C-40B7-4358-B92F-731A6812AE60}" dt="2024-10-09T13:20:29.741" v="583" actId="478"/>
          <ac:picMkLst>
            <pc:docMk/>
            <pc:sldMk cId="2223383869" sldId="9596"/>
            <ac:picMk id="8" creationId="{1E83FD69-AE0B-C0F8-E858-52B9D5144B2B}"/>
          </ac:picMkLst>
        </pc:picChg>
        <pc:picChg chg="add del mod">
          <ac:chgData name="Pierre Høgenhaug" userId="5f239db8-0158-4fa1-a859-fc1b00175be2" providerId="ADAL" clId="{6C76697C-40B7-4358-B92F-731A6812AE60}" dt="2024-10-09T14:09:09.686" v="1441" actId="478"/>
          <ac:picMkLst>
            <pc:docMk/>
            <pc:sldMk cId="2223383869" sldId="9596"/>
            <ac:picMk id="16" creationId="{9CAEB3BA-25E3-2402-C397-FC17FE7570E7}"/>
          </ac:picMkLst>
        </pc:picChg>
        <pc:picChg chg="add del mod">
          <ac:chgData name="Pierre Høgenhaug" userId="5f239db8-0158-4fa1-a859-fc1b00175be2" providerId="ADAL" clId="{6C76697C-40B7-4358-B92F-731A6812AE60}" dt="2024-10-09T14:09:08.886" v="1440" actId="478"/>
          <ac:picMkLst>
            <pc:docMk/>
            <pc:sldMk cId="2223383869" sldId="9596"/>
            <ac:picMk id="18" creationId="{B6274376-7D7B-8E39-B8BD-E93ADA33C45F}"/>
          </ac:picMkLst>
        </pc:picChg>
        <pc:picChg chg="add mod">
          <ac:chgData name="Pierre Høgenhaug" userId="5f239db8-0158-4fa1-a859-fc1b00175be2" providerId="ADAL" clId="{6C76697C-40B7-4358-B92F-731A6812AE60}" dt="2024-10-09T15:03:27.286" v="2661" actId="1076"/>
          <ac:picMkLst>
            <pc:docMk/>
            <pc:sldMk cId="2223383869" sldId="9596"/>
            <ac:picMk id="50" creationId="{5F8E7537-0558-75B8-B605-E2BCC3330931}"/>
          </ac:picMkLst>
        </pc:picChg>
        <pc:picChg chg="del">
          <ac:chgData name="Pierre Høgenhaug" userId="5f239db8-0158-4fa1-a859-fc1b00175be2" providerId="ADAL" clId="{6C76697C-40B7-4358-B92F-731A6812AE60}" dt="2024-10-09T12:17:18.405" v="19" actId="478"/>
          <ac:picMkLst>
            <pc:docMk/>
            <pc:sldMk cId="2223383869" sldId="9596"/>
            <ac:picMk id="20482" creationId="{D0AE5696-6838-4D51-90E2-66DD5762FAD6}"/>
          </ac:picMkLst>
        </pc:picChg>
      </pc:sldChg>
      <pc:sldChg chg="del">
        <pc:chgData name="Pierre Høgenhaug" userId="5f239db8-0158-4fa1-a859-fc1b00175be2" providerId="ADAL" clId="{6C76697C-40B7-4358-B92F-731A6812AE60}" dt="2024-10-09T10:53:30.090" v="0" actId="47"/>
        <pc:sldMkLst>
          <pc:docMk/>
          <pc:sldMk cId="3307118180" sldId="9598"/>
        </pc:sldMkLst>
      </pc:sldChg>
      <pc:sldChg chg="del">
        <pc:chgData name="Pierre Høgenhaug" userId="5f239db8-0158-4fa1-a859-fc1b00175be2" providerId="ADAL" clId="{6C76697C-40B7-4358-B92F-731A6812AE60}" dt="2024-10-09T10:53:30.090" v="0" actId="47"/>
        <pc:sldMkLst>
          <pc:docMk/>
          <pc:sldMk cId="267441258" sldId="9814"/>
        </pc:sldMkLst>
      </pc:sldChg>
      <pc:sldChg chg="del">
        <pc:chgData name="Pierre Høgenhaug" userId="5f239db8-0158-4fa1-a859-fc1b00175be2" providerId="ADAL" clId="{6C76697C-40B7-4358-B92F-731A6812AE60}" dt="2024-10-09T14:55:05.973" v="2482" actId="47"/>
        <pc:sldMkLst>
          <pc:docMk/>
          <pc:sldMk cId="3786184843" sldId="9815"/>
        </pc:sldMkLst>
      </pc:sldChg>
      <pc:sldChg chg="del">
        <pc:chgData name="Pierre Høgenhaug" userId="5f239db8-0158-4fa1-a859-fc1b00175be2" providerId="ADAL" clId="{6C76697C-40B7-4358-B92F-731A6812AE60}" dt="2024-10-09T10:53:30.090" v="0" actId="47"/>
        <pc:sldMkLst>
          <pc:docMk/>
          <pc:sldMk cId="1837727799" sldId="9816"/>
        </pc:sldMkLst>
      </pc:sldChg>
      <pc:sldChg chg="addSp delSp modSp add mod">
        <pc:chgData name="Pierre Høgenhaug" userId="5f239db8-0158-4fa1-a859-fc1b00175be2" providerId="ADAL" clId="{6C76697C-40B7-4358-B92F-731A6812AE60}" dt="2024-10-09T15:56:29.917" v="3305" actId="20577"/>
        <pc:sldMkLst>
          <pc:docMk/>
          <pc:sldMk cId="2254564119" sldId="9816"/>
        </pc:sldMkLst>
        <pc:spChg chg="add">
          <ac:chgData name="Pierre Høgenhaug" userId="5f239db8-0158-4fa1-a859-fc1b00175be2" providerId="ADAL" clId="{6C76697C-40B7-4358-B92F-731A6812AE60}" dt="2024-10-09T15:54:03.328" v="3283"/>
          <ac:spMkLst>
            <pc:docMk/>
            <pc:sldMk cId="2254564119" sldId="9816"/>
            <ac:spMk id="4" creationId="{FC8D0044-1B5B-56E6-A420-3DA5ABF3320C}"/>
          </ac:spMkLst>
        </pc:spChg>
        <pc:spChg chg="mod">
          <ac:chgData name="Pierre Høgenhaug" userId="5f239db8-0158-4fa1-a859-fc1b00175be2" providerId="ADAL" clId="{6C76697C-40B7-4358-B92F-731A6812AE60}" dt="2024-10-09T15:53:09.174" v="3239" actId="1035"/>
          <ac:spMkLst>
            <pc:docMk/>
            <pc:sldMk cId="2254564119" sldId="9816"/>
            <ac:spMk id="5" creationId="{EAD762A4-092C-DEB9-ED3A-10794AA4107E}"/>
          </ac:spMkLst>
        </pc:spChg>
        <pc:spChg chg="add">
          <ac:chgData name="Pierre Høgenhaug" userId="5f239db8-0158-4fa1-a859-fc1b00175be2" providerId="ADAL" clId="{6C76697C-40B7-4358-B92F-731A6812AE60}" dt="2024-10-09T15:54:08.751" v="3284"/>
          <ac:spMkLst>
            <pc:docMk/>
            <pc:sldMk cId="2254564119" sldId="9816"/>
            <ac:spMk id="6" creationId="{6F0D7CB9-BB51-2675-D64E-8F80AC4998AE}"/>
          </ac:spMkLst>
        </pc:spChg>
        <pc:spChg chg="mod">
          <ac:chgData name="Pierre Høgenhaug" userId="5f239db8-0158-4fa1-a859-fc1b00175be2" providerId="ADAL" clId="{6C76697C-40B7-4358-B92F-731A6812AE60}" dt="2024-10-09T15:28:58.107" v="3199" actId="20577"/>
          <ac:spMkLst>
            <pc:docMk/>
            <pc:sldMk cId="2254564119" sldId="9816"/>
            <ac:spMk id="7" creationId="{608B0EFA-E3E9-4205-831D-7399BC72C66F}"/>
          </ac:spMkLst>
        </pc:spChg>
        <pc:spChg chg="add">
          <ac:chgData name="Pierre Høgenhaug" userId="5f239db8-0158-4fa1-a859-fc1b00175be2" providerId="ADAL" clId="{6C76697C-40B7-4358-B92F-731A6812AE60}" dt="2024-10-09T15:54:14.080" v="3285"/>
          <ac:spMkLst>
            <pc:docMk/>
            <pc:sldMk cId="2254564119" sldId="9816"/>
            <ac:spMk id="8" creationId="{B7A51786-FDD3-48F7-66D1-DF193D46E69D}"/>
          </ac:spMkLst>
        </pc:spChg>
        <pc:spChg chg="mod">
          <ac:chgData name="Pierre Høgenhaug" userId="5f239db8-0158-4fa1-a859-fc1b00175be2" providerId="ADAL" clId="{6C76697C-40B7-4358-B92F-731A6812AE60}" dt="2024-10-09T15:53:17.206" v="3256" actId="1036"/>
          <ac:spMkLst>
            <pc:docMk/>
            <pc:sldMk cId="2254564119" sldId="9816"/>
            <ac:spMk id="9" creationId="{349DB202-A3E2-4A4E-C37A-9F1E1305E6A6}"/>
          </ac:spMkLst>
        </pc:spChg>
        <pc:spChg chg="add">
          <ac:chgData name="Pierre Høgenhaug" userId="5f239db8-0158-4fa1-a859-fc1b00175be2" providerId="ADAL" clId="{6C76697C-40B7-4358-B92F-731A6812AE60}" dt="2024-10-09T15:54:16.294" v="3286"/>
          <ac:spMkLst>
            <pc:docMk/>
            <pc:sldMk cId="2254564119" sldId="9816"/>
            <ac:spMk id="10" creationId="{0EA2544F-0A97-D6CF-E6F6-CDCCBBCE4CE7}"/>
          </ac:spMkLst>
        </pc:spChg>
        <pc:spChg chg="del">
          <ac:chgData name="Pierre Høgenhaug" userId="5f239db8-0158-4fa1-a859-fc1b00175be2" providerId="ADAL" clId="{6C76697C-40B7-4358-B92F-731A6812AE60}" dt="2024-10-09T15:52:22.331" v="3212" actId="478"/>
          <ac:spMkLst>
            <pc:docMk/>
            <pc:sldMk cId="2254564119" sldId="9816"/>
            <ac:spMk id="11" creationId="{194548D5-25DC-E5AB-5555-D4729873B17D}"/>
          </ac:spMkLst>
        </pc:spChg>
        <pc:spChg chg="mod">
          <ac:chgData name="Pierre Høgenhaug" userId="5f239db8-0158-4fa1-a859-fc1b00175be2" providerId="ADAL" clId="{6C76697C-40B7-4358-B92F-731A6812AE60}" dt="2024-10-09T15:53:09.174" v="3239" actId="1035"/>
          <ac:spMkLst>
            <pc:docMk/>
            <pc:sldMk cId="2254564119" sldId="9816"/>
            <ac:spMk id="12" creationId="{9D2F1AAB-E2AD-8667-F8D1-B24D6C991346}"/>
          </ac:spMkLst>
        </pc:spChg>
        <pc:spChg chg="mod">
          <ac:chgData name="Pierre Høgenhaug" userId="5f239db8-0158-4fa1-a859-fc1b00175be2" providerId="ADAL" clId="{6C76697C-40B7-4358-B92F-731A6812AE60}" dt="2024-10-09T15:56:29.917" v="3305" actId="20577"/>
          <ac:spMkLst>
            <pc:docMk/>
            <pc:sldMk cId="2254564119" sldId="9816"/>
            <ac:spMk id="13" creationId="{8BEA58BB-13D4-B297-0859-2EC45658B4DA}"/>
          </ac:spMkLst>
        </pc:spChg>
        <pc:spChg chg="mod">
          <ac:chgData name="Pierre Høgenhaug" userId="5f239db8-0158-4fa1-a859-fc1b00175be2" providerId="ADAL" clId="{6C76697C-40B7-4358-B92F-731A6812AE60}" dt="2024-10-09T15:53:34.453" v="3275" actId="14100"/>
          <ac:spMkLst>
            <pc:docMk/>
            <pc:sldMk cId="2254564119" sldId="9816"/>
            <ac:spMk id="14" creationId="{7B9E1DAB-84C5-6AFD-D1B2-B17C1F3C8BDB}"/>
          </ac:spMkLst>
        </pc:spChg>
        <pc:picChg chg="add mod">
          <ac:chgData name="Pierre Høgenhaug" userId="5f239db8-0158-4fa1-a859-fc1b00175be2" providerId="ADAL" clId="{6C76697C-40B7-4358-B92F-731A6812AE60}" dt="2024-10-09T15:53:09.174" v="3239" actId="1035"/>
          <ac:picMkLst>
            <pc:docMk/>
            <pc:sldMk cId="2254564119" sldId="9816"/>
            <ac:picMk id="3" creationId="{008063B3-F38A-269B-B13A-95948B1A194C}"/>
          </ac:picMkLst>
        </pc:picChg>
        <pc:picChg chg="mod modCrop">
          <ac:chgData name="Pierre Høgenhaug" userId="5f239db8-0158-4fa1-a859-fc1b00175be2" providerId="ADAL" clId="{6C76697C-40B7-4358-B92F-731A6812AE60}" dt="2024-10-09T15:53:01.534" v="3225" actId="1035"/>
          <ac:picMkLst>
            <pc:docMk/>
            <pc:sldMk cId="2254564119" sldId="9816"/>
            <ac:picMk id="16" creationId="{9CAEB3BA-25E3-2402-C397-FC17FE7570E7}"/>
          </ac:picMkLst>
        </pc:picChg>
        <pc:picChg chg="mod modCrop">
          <ac:chgData name="Pierre Høgenhaug" userId="5f239db8-0158-4fa1-a859-fc1b00175be2" providerId="ADAL" clId="{6C76697C-40B7-4358-B92F-731A6812AE60}" dt="2024-10-09T15:33:45.211" v="3210" actId="732"/>
          <ac:picMkLst>
            <pc:docMk/>
            <pc:sldMk cId="2254564119" sldId="9816"/>
            <ac:picMk id="18" creationId="{B6274376-7D7B-8E39-B8BD-E93ADA33C45F}"/>
          </ac:picMkLst>
        </pc:picChg>
      </pc:sldChg>
      <pc:sldChg chg="add del">
        <pc:chgData name="Pierre Høgenhaug" userId="5f239db8-0158-4fa1-a859-fc1b00175be2" providerId="ADAL" clId="{6C76697C-40B7-4358-B92F-731A6812AE60}" dt="2024-10-09T14:09:04.987" v="1438"/>
        <pc:sldMkLst>
          <pc:docMk/>
          <pc:sldMk cId="2977725174" sldId="9816"/>
        </pc:sldMkLst>
      </pc:sldChg>
      <pc:sldChg chg="add del">
        <pc:chgData name="Pierre Høgenhaug" userId="5f239db8-0158-4fa1-a859-fc1b00175be2" providerId="ADAL" clId="{6C76697C-40B7-4358-B92F-731A6812AE60}" dt="2024-10-09T13:54:30.033" v="1380" actId="47"/>
        <pc:sldMkLst>
          <pc:docMk/>
          <pc:sldMk cId="3975603350" sldId="9816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4"/>
            <a:ext cx="3078651" cy="511071"/>
          </a:xfrm>
          <a:prstGeom prst="rect">
            <a:avLst/>
          </a:prstGeom>
        </p:spPr>
        <p:txBody>
          <a:bodyPr vert="horz" lIns="95616" tIns="47808" rIns="95616" bIns="47808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738" y="4"/>
            <a:ext cx="3078651" cy="511071"/>
          </a:xfrm>
          <a:prstGeom prst="rect">
            <a:avLst/>
          </a:prstGeom>
        </p:spPr>
        <p:txBody>
          <a:bodyPr vert="horz" lIns="95616" tIns="47808" rIns="95616" bIns="47808" rtlCol="0"/>
          <a:lstStyle>
            <a:lvl1pPr algn="r">
              <a:defRPr sz="1200"/>
            </a:lvl1pPr>
          </a:lstStyle>
          <a:p>
            <a:fld id="{D6EE8BAE-46AB-46C6-9CA3-6B690B9A6038}" type="datetimeFigureOut">
              <a:rPr lang="en-GB"/>
              <a:t>09/10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5" y="9721896"/>
            <a:ext cx="3078651" cy="511071"/>
          </a:xfrm>
          <a:prstGeom prst="rect">
            <a:avLst/>
          </a:prstGeom>
        </p:spPr>
        <p:txBody>
          <a:bodyPr vert="horz" lIns="95616" tIns="47808" rIns="95616" bIns="47808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738" y="9721896"/>
            <a:ext cx="3078651" cy="511071"/>
          </a:xfrm>
          <a:prstGeom prst="rect">
            <a:avLst/>
          </a:prstGeom>
        </p:spPr>
        <p:txBody>
          <a:bodyPr vert="horz" lIns="95616" tIns="47808" rIns="95616" bIns="47808" rtlCol="0" anchor="b"/>
          <a:lstStyle>
            <a:lvl1pPr algn="r">
              <a:defRPr sz="1200"/>
            </a:lvl1pPr>
          </a:lstStyle>
          <a:p>
            <a:fld id="{D4CD3AD6-A5FE-468E-8095-C8CCD92A5E40}" type="slidenum">
              <a:rPr lang="en-GB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6918069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8" cy="511731"/>
          </a:xfrm>
          <a:prstGeom prst="rect">
            <a:avLst/>
          </a:prstGeom>
        </p:spPr>
        <p:txBody>
          <a:bodyPr vert="horz" lIns="95616" tIns="47808" rIns="95616" bIns="47808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3" y="0"/>
            <a:ext cx="3078428" cy="511731"/>
          </a:xfrm>
          <a:prstGeom prst="rect">
            <a:avLst/>
          </a:prstGeom>
        </p:spPr>
        <p:txBody>
          <a:bodyPr vert="horz" lIns="95616" tIns="47808" rIns="95616" bIns="47808" rtlCol="0"/>
          <a:lstStyle>
            <a:lvl1pPr algn="r">
              <a:defRPr sz="1200"/>
            </a:lvl1pPr>
          </a:lstStyle>
          <a:p>
            <a:fld id="{72AA3719-E687-43F7-8503-090D4A8744B2}" type="datetimeFigureOut">
              <a:rPr lang="en-GB"/>
              <a:pPr/>
              <a:t>09/10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38200" y="769938"/>
            <a:ext cx="5427663" cy="383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616" tIns="47808" rIns="95616" bIns="4780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861445"/>
            <a:ext cx="5683250" cy="4605576"/>
          </a:xfrm>
          <a:prstGeom prst="rect">
            <a:avLst/>
          </a:prstGeom>
        </p:spPr>
        <p:txBody>
          <a:bodyPr vert="horz" lIns="95616" tIns="47808" rIns="95616" bIns="4780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9"/>
            <a:ext cx="3078428" cy="511731"/>
          </a:xfrm>
          <a:prstGeom prst="rect">
            <a:avLst/>
          </a:prstGeom>
        </p:spPr>
        <p:txBody>
          <a:bodyPr vert="horz" lIns="95616" tIns="47808" rIns="95616" bIns="47808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3" y="9721109"/>
            <a:ext cx="3078428" cy="511731"/>
          </a:xfrm>
          <a:prstGeom prst="rect">
            <a:avLst/>
          </a:prstGeom>
        </p:spPr>
        <p:txBody>
          <a:bodyPr vert="horz" lIns="95616" tIns="47808" rIns="95616" bIns="47808" rtlCol="0" anchor="b"/>
          <a:lstStyle>
            <a:lvl1pPr algn="r">
              <a:defRPr sz="1200"/>
            </a:lvl1pPr>
          </a:lstStyle>
          <a:p>
            <a:fld id="{122F8133-2F88-4991-8402-4E14DD35EE3C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8282983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98559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9712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95679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9424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92799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9136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89919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8848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4E378F9-3862-4074-880B-8E35CA0C2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5695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4E378F9-3862-4074-880B-8E35CA0C2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8E52642-78DA-4394-A667-0EB27B9C48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384144" y="6205060"/>
            <a:ext cx="8249439" cy="704050"/>
          </a:xfrm>
          <a:prstGeom prst="rect">
            <a:avLst/>
          </a:prstGeom>
          <a:noFill/>
        </p:spPr>
        <p:txBody>
          <a:bodyPr lIns="0" tIns="0" rIns="0" bIns="0" anchor="b">
            <a:noAutofit/>
          </a:bodyPr>
          <a:lstStyle>
            <a:lvl1pPr algn="l">
              <a:lnSpc>
                <a:spcPts val="2600"/>
              </a:lnSpc>
              <a:defRPr sz="2400" b="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96875" y="6988312"/>
            <a:ext cx="8249439" cy="2772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60CEC3-EF2F-4509-ACDE-FCBED8A22CC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4144" y="5888252"/>
            <a:ext cx="8262170" cy="316808"/>
          </a:xfrm>
        </p:spPr>
        <p:txBody>
          <a:bodyPr/>
          <a:lstStyle>
            <a:lvl1pPr algn="l">
              <a:defRPr sz="1200"/>
            </a:lvl1pPr>
          </a:lstStyle>
          <a:p>
            <a:pPr lvl="0"/>
            <a:r>
              <a:rPr lang="en-US" dirty="0"/>
              <a:t>Click to Edit Author</a:t>
            </a:r>
            <a:endParaRPr lang="da-DK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3B5682B-7692-4FBB-A6D5-BF9299E7BE9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938330" y="6595721"/>
            <a:ext cx="1363067" cy="549565"/>
          </a:xfrm>
          <a:prstGeom prst="rect">
            <a:avLst/>
          </a:prstGeom>
        </p:spPr>
      </p:pic>
      <p:grpSp>
        <p:nvGrpSpPr>
          <p:cNvPr id="1644" name="Group 1643">
            <a:extLst>
              <a:ext uri="{FF2B5EF4-FFF2-40B4-BE49-F238E27FC236}">
                <a16:creationId xmlns:a16="http://schemas.microsoft.com/office/drawing/2014/main" id="{4394367B-3A49-4432-BFE3-ACA4283B6AF9}"/>
              </a:ext>
            </a:extLst>
          </p:cNvPr>
          <p:cNvGrpSpPr/>
          <p:nvPr userDrawn="1"/>
        </p:nvGrpSpPr>
        <p:grpSpPr>
          <a:xfrm>
            <a:off x="445836" y="297463"/>
            <a:ext cx="9913951" cy="5384016"/>
            <a:chOff x="445836" y="309147"/>
            <a:chExt cx="9913951" cy="5384016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F11BD18B-5C01-48F8-A3C1-D50C5A8D613A}"/>
                </a:ext>
              </a:extLst>
            </p:cNvPr>
            <p:cNvSpPr/>
            <p:nvPr/>
          </p:nvSpPr>
          <p:spPr>
            <a:xfrm>
              <a:off x="1580339" y="528306"/>
              <a:ext cx="5291" cy="165692"/>
            </a:xfrm>
            <a:custGeom>
              <a:avLst/>
              <a:gdLst>
                <a:gd name="connsiteX0" fmla="*/ 5291 w 5291"/>
                <a:gd name="connsiteY0" fmla="*/ 0 h 165692"/>
                <a:gd name="connsiteX1" fmla="*/ 0 w 5291"/>
                <a:gd name="connsiteY1" fmla="*/ 165692 h 16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5692">
                  <a:moveTo>
                    <a:pt x="5291" y="0"/>
                  </a:moveTo>
                  <a:lnTo>
                    <a:pt x="0" y="1656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181F54C-9F9E-42E9-9299-B8356F5DB88B}"/>
                </a:ext>
              </a:extLst>
            </p:cNvPr>
            <p:cNvSpPr/>
            <p:nvPr/>
          </p:nvSpPr>
          <p:spPr>
            <a:xfrm>
              <a:off x="1807574" y="528306"/>
              <a:ext cx="2784" cy="165692"/>
            </a:xfrm>
            <a:custGeom>
              <a:avLst/>
              <a:gdLst>
                <a:gd name="connsiteX0" fmla="*/ 2785 w 2784"/>
                <a:gd name="connsiteY0" fmla="*/ 0 h 165692"/>
                <a:gd name="connsiteX1" fmla="*/ 0 w 2784"/>
                <a:gd name="connsiteY1" fmla="*/ 165692 h 16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5692">
                  <a:moveTo>
                    <a:pt x="2785" y="0"/>
                  </a:moveTo>
                  <a:lnTo>
                    <a:pt x="0" y="1656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4CC7327-B988-4EE2-8C0A-922B0C9D84F7}"/>
                </a:ext>
              </a:extLst>
            </p:cNvPr>
            <p:cNvSpPr/>
            <p:nvPr/>
          </p:nvSpPr>
          <p:spPr>
            <a:xfrm>
              <a:off x="2034809" y="528306"/>
              <a:ext cx="2784" cy="165692"/>
            </a:xfrm>
            <a:custGeom>
              <a:avLst/>
              <a:gdLst>
                <a:gd name="connsiteX0" fmla="*/ 0 w 2784"/>
                <a:gd name="connsiteY0" fmla="*/ 0 h 165692"/>
                <a:gd name="connsiteX1" fmla="*/ 2785 w 2784"/>
                <a:gd name="connsiteY1" fmla="*/ 165692 h 16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5692">
                  <a:moveTo>
                    <a:pt x="0" y="0"/>
                  </a:moveTo>
                  <a:lnTo>
                    <a:pt x="2785" y="1656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47" name="Freeform: Shape 546">
              <a:extLst>
                <a:ext uri="{FF2B5EF4-FFF2-40B4-BE49-F238E27FC236}">
                  <a16:creationId xmlns:a16="http://schemas.microsoft.com/office/drawing/2014/main" id="{F472DC0C-9FE6-44C2-B5DA-CED8D06D3599}"/>
                </a:ext>
              </a:extLst>
            </p:cNvPr>
            <p:cNvSpPr/>
            <p:nvPr/>
          </p:nvSpPr>
          <p:spPr>
            <a:xfrm>
              <a:off x="2264828" y="528306"/>
              <a:ext cx="5291" cy="165692"/>
            </a:xfrm>
            <a:custGeom>
              <a:avLst/>
              <a:gdLst>
                <a:gd name="connsiteX0" fmla="*/ 5291 w 5291"/>
                <a:gd name="connsiteY0" fmla="*/ 0 h 165692"/>
                <a:gd name="connsiteX1" fmla="*/ 0 w 5291"/>
                <a:gd name="connsiteY1" fmla="*/ 165692 h 16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5692">
                  <a:moveTo>
                    <a:pt x="5291" y="0"/>
                  </a:moveTo>
                  <a:lnTo>
                    <a:pt x="0" y="1656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48" name="Freeform: Shape 547">
              <a:extLst>
                <a:ext uri="{FF2B5EF4-FFF2-40B4-BE49-F238E27FC236}">
                  <a16:creationId xmlns:a16="http://schemas.microsoft.com/office/drawing/2014/main" id="{0B77A429-BAE2-4F69-9F5A-780AE3A82073}"/>
                </a:ext>
              </a:extLst>
            </p:cNvPr>
            <p:cNvSpPr/>
            <p:nvPr/>
          </p:nvSpPr>
          <p:spPr>
            <a:xfrm>
              <a:off x="7734335" y="3233681"/>
              <a:ext cx="40100" cy="160401"/>
            </a:xfrm>
            <a:custGeom>
              <a:avLst/>
              <a:gdLst>
                <a:gd name="connsiteX0" fmla="*/ 40100 w 40100"/>
                <a:gd name="connsiteY0" fmla="*/ 0 h 160401"/>
                <a:gd name="connsiteX1" fmla="*/ 0 w 40100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60401">
                  <a:moveTo>
                    <a:pt x="4010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49" name="Freeform: Shape 548">
              <a:extLst>
                <a:ext uri="{FF2B5EF4-FFF2-40B4-BE49-F238E27FC236}">
                  <a16:creationId xmlns:a16="http://schemas.microsoft.com/office/drawing/2014/main" id="{084FFC3D-BDE9-433B-8D1C-2D507ECE208B}"/>
                </a:ext>
              </a:extLst>
            </p:cNvPr>
            <p:cNvSpPr/>
            <p:nvPr/>
          </p:nvSpPr>
          <p:spPr>
            <a:xfrm>
              <a:off x="2721804" y="758325"/>
              <a:ext cx="21442" cy="160401"/>
            </a:xfrm>
            <a:custGeom>
              <a:avLst/>
              <a:gdLst>
                <a:gd name="connsiteX0" fmla="*/ 21442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0" name="Freeform: Shape 549">
              <a:extLst>
                <a:ext uri="{FF2B5EF4-FFF2-40B4-BE49-F238E27FC236}">
                  <a16:creationId xmlns:a16="http://schemas.microsoft.com/office/drawing/2014/main" id="{940F8B57-29F9-4346-A69F-5A477DA44A03}"/>
                </a:ext>
              </a:extLst>
            </p:cNvPr>
            <p:cNvSpPr/>
            <p:nvPr/>
          </p:nvSpPr>
          <p:spPr>
            <a:xfrm>
              <a:off x="2951823" y="758325"/>
              <a:ext cx="34809" cy="160401"/>
            </a:xfrm>
            <a:custGeom>
              <a:avLst/>
              <a:gdLst>
                <a:gd name="connsiteX0" fmla="*/ 34809 w 34809"/>
                <a:gd name="connsiteY0" fmla="*/ 0 h 160401"/>
                <a:gd name="connsiteX1" fmla="*/ 0 w 34809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160401">
                  <a:moveTo>
                    <a:pt x="34809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1" name="Freeform: Shape 550">
              <a:extLst>
                <a:ext uri="{FF2B5EF4-FFF2-40B4-BE49-F238E27FC236}">
                  <a16:creationId xmlns:a16="http://schemas.microsoft.com/office/drawing/2014/main" id="{D8E63153-576B-46A3-93EB-1EA9FDE68283}"/>
                </a:ext>
              </a:extLst>
            </p:cNvPr>
            <p:cNvSpPr/>
            <p:nvPr/>
          </p:nvSpPr>
          <p:spPr>
            <a:xfrm>
              <a:off x="1583124" y="982776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2" name="Freeform: Shape 551">
              <a:extLst>
                <a:ext uri="{FF2B5EF4-FFF2-40B4-BE49-F238E27FC236}">
                  <a16:creationId xmlns:a16="http://schemas.microsoft.com/office/drawing/2014/main" id="{F4A58B5E-CA43-4E06-B165-2609ECFB7F97}"/>
                </a:ext>
              </a:extLst>
            </p:cNvPr>
            <p:cNvSpPr/>
            <p:nvPr/>
          </p:nvSpPr>
          <p:spPr>
            <a:xfrm>
              <a:off x="1807574" y="982776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3" name="Freeform: Shape 552">
              <a:extLst>
                <a:ext uri="{FF2B5EF4-FFF2-40B4-BE49-F238E27FC236}">
                  <a16:creationId xmlns:a16="http://schemas.microsoft.com/office/drawing/2014/main" id="{67934EDB-6592-4E10-BC12-6D4C964CACC7}"/>
                </a:ext>
              </a:extLst>
            </p:cNvPr>
            <p:cNvSpPr/>
            <p:nvPr/>
          </p:nvSpPr>
          <p:spPr>
            <a:xfrm>
              <a:off x="2037593" y="982776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4" name="Freeform: Shape 553">
              <a:extLst>
                <a:ext uri="{FF2B5EF4-FFF2-40B4-BE49-F238E27FC236}">
                  <a16:creationId xmlns:a16="http://schemas.microsoft.com/office/drawing/2014/main" id="{BD2A7429-59AF-4EAE-8277-A395644B575E}"/>
                </a:ext>
              </a:extLst>
            </p:cNvPr>
            <p:cNvSpPr/>
            <p:nvPr/>
          </p:nvSpPr>
          <p:spPr>
            <a:xfrm>
              <a:off x="5229462" y="5484864"/>
              <a:ext cx="32024" cy="160401"/>
            </a:xfrm>
            <a:custGeom>
              <a:avLst/>
              <a:gdLst>
                <a:gd name="connsiteX0" fmla="*/ 32025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5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5" name="Freeform: Shape 554">
              <a:extLst>
                <a:ext uri="{FF2B5EF4-FFF2-40B4-BE49-F238E27FC236}">
                  <a16:creationId xmlns:a16="http://schemas.microsoft.com/office/drawing/2014/main" id="{69C66D56-7D37-4842-ABDB-167623D0FDAD}"/>
                </a:ext>
              </a:extLst>
            </p:cNvPr>
            <p:cNvSpPr/>
            <p:nvPr/>
          </p:nvSpPr>
          <p:spPr>
            <a:xfrm>
              <a:off x="2262043" y="982776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6" name="Freeform: Shape 555">
              <a:extLst>
                <a:ext uri="{FF2B5EF4-FFF2-40B4-BE49-F238E27FC236}">
                  <a16:creationId xmlns:a16="http://schemas.microsoft.com/office/drawing/2014/main" id="{8AC74128-0130-486B-82A6-138B24AF3667}"/>
                </a:ext>
              </a:extLst>
            </p:cNvPr>
            <p:cNvSpPr/>
            <p:nvPr/>
          </p:nvSpPr>
          <p:spPr>
            <a:xfrm>
              <a:off x="4774992" y="5484864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7" name="Freeform: Shape 556">
              <a:extLst>
                <a:ext uri="{FF2B5EF4-FFF2-40B4-BE49-F238E27FC236}">
                  <a16:creationId xmlns:a16="http://schemas.microsoft.com/office/drawing/2014/main" id="{3F2C958D-DE9D-450C-B916-36A0598D267B}"/>
                </a:ext>
              </a:extLst>
            </p:cNvPr>
            <p:cNvSpPr/>
            <p:nvPr/>
          </p:nvSpPr>
          <p:spPr>
            <a:xfrm>
              <a:off x="4545251" y="5484864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8" name="Freeform: Shape 557">
              <a:extLst>
                <a:ext uri="{FF2B5EF4-FFF2-40B4-BE49-F238E27FC236}">
                  <a16:creationId xmlns:a16="http://schemas.microsoft.com/office/drawing/2014/main" id="{ECAD6086-E01E-4BCE-B656-13E6A61192D2}"/>
                </a:ext>
              </a:extLst>
            </p:cNvPr>
            <p:cNvSpPr/>
            <p:nvPr/>
          </p:nvSpPr>
          <p:spPr>
            <a:xfrm>
              <a:off x="4318017" y="5484864"/>
              <a:ext cx="18657" cy="160401"/>
            </a:xfrm>
            <a:custGeom>
              <a:avLst/>
              <a:gdLst>
                <a:gd name="connsiteX0" fmla="*/ 18658 w 18657"/>
                <a:gd name="connsiteY0" fmla="*/ 0 h 160401"/>
                <a:gd name="connsiteX1" fmla="*/ 0 w 18657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160401">
                  <a:moveTo>
                    <a:pt x="18658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9" name="Freeform: Shape 558">
              <a:extLst>
                <a:ext uri="{FF2B5EF4-FFF2-40B4-BE49-F238E27FC236}">
                  <a16:creationId xmlns:a16="http://schemas.microsoft.com/office/drawing/2014/main" id="{E104B5D0-1B99-4C8B-9217-38AE0808D087}"/>
                </a:ext>
              </a:extLst>
            </p:cNvPr>
            <p:cNvSpPr/>
            <p:nvPr/>
          </p:nvSpPr>
          <p:spPr>
            <a:xfrm>
              <a:off x="2492063" y="982776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0" name="Freeform: Shape 559">
              <a:extLst>
                <a:ext uri="{FF2B5EF4-FFF2-40B4-BE49-F238E27FC236}">
                  <a16:creationId xmlns:a16="http://schemas.microsoft.com/office/drawing/2014/main" id="{32C0500E-ABEE-46FA-94A3-3377742DC335}"/>
                </a:ext>
              </a:extLst>
            </p:cNvPr>
            <p:cNvSpPr/>
            <p:nvPr/>
          </p:nvSpPr>
          <p:spPr>
            <a:xfrm>
              <a:off x="2721804" y="982776"/>
              <a:ext cx="16151" cy="160401"/>
            </a:xfrm>
            <a:custGeom>
              <a:avLst/>
              <a:gdLst>
                <a:gd name="connsiteX0" fmla="*/ 16152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1" name="Freeform: Shape 560">
              <a:extLst>
                <a:ext uri="{FF2B5EF4-FFF2-40B4-BE49-F238E27FC236}">
                  <a16:creationId xmlns:a16="http://schemas.microsoft.com/office/drawing/2014/main" id="{BFE3FCEA-6D8E-40AB-AD5C-572AEB6F9699}"/>
                </a:ext>
              </a:extLst>
            </p:cNvPr>
            <p:cNvSpPr/>
            <p:nvPr/>
          </p:nvSpPr>
          <p:spPr>
            <a:xfrm>
              <a:off x="2951823" y="982776"/>
              <a:ext cx="26733" cy="160401"/>
            </a:xfrm>
            <a:custGeom>
              <a:avLst/>
              <a:gdLst>
                <a:gd name="connsiteX0" fmla="*/ 26733 w 26733"/>
                <a:gd name="connsiteY0" fmla="*/ 0 h 160401"/>
                <a:gd name="connsiteX1" fmla="*/ 0 w 26733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60401">
                  <a:moveTo>
                    <a:pt x="2673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2" name="Freeform: Shape 561">
              <a:extLst>
                <a:ext uri="{FF2B5EF4-FFF2-40B4-BE49-F238E27FC236}">
                  <a16:creationId xmlns:a16="http://schemas.microsoft.com/office/drawing/2014/main" id="{B670DC97-B719-4421-9918-846316D5C7F2}"/>
                </a:ext>
              </a:extLst>
            </p:cNvPr>
            <p:cNvSpPr/>
            <p:nvPr/>
          </p:nvSpPr>
          <p:spPr>
            <a:xfrm>
              <a:off x="1583124" y="1207504"/>
              <a:ext cx="32024" cy="160401"/>
            </a:xfrm>
            <a:custGeom>
              <a:avLst/>
              <a:gdLst>
                <a:gd name="connsiteX0" fmla="*/ 32025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5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3" name="Freeform: Shape 562">
              <a:extLst>
                <a:ext uri="{FF2B5EF4-FFF2-40B4-BE49-F238E27FC236}">
                  <a16:creationId xmlns:a16="http://schemas.microsoft.com/office/drawing/2014/main" id="{F039395D-A50B-4D9C-A936-4AE3E35D3DE7}"/>
                </a:ext>
              </a:extLst>
            </p:cNvPr>
            <p:cNvSpPr/>
            <p:nvPr/>
          </p:nvSpPr>
          <p:spPr>
            <a:xfrm>
              <a:off x="1807574" y="1207504"/>
              <a:ext cx="16151" cy="160401"/>
            </a:xfrm>
            <a:custGeom>
              <a:avLst/>
              <a:gdLst>
                <a:gd name="connsiteX0" fmla="*/ 16152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4" name="Freeform: Shape 563">
              <a:extLst>
                <a:ext uri="{FF2B5EF4-FFF2-40B4-BE49-F238E27FC236}">
                  <a16:creationId xmlns:a16="http://schemas.microsoft.com/office/drawing/2014/main" id="{E7D5C308-7CB0-4653-A06A-25C175111E26}"/>
                </a:ext>
              </a:extLst>
            </p:cNvPr>
            <p:cNvSpPr/>
            <p:nvPr/>
          </p:nvSpPr>
          <p:spPr>
            <a:xfrm>
              <a:off x="2037593" y="1207504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5" name="Freeform: Shape 564">
              <a:extLst>
                <a:ext uri="{FF2B5EF4-FFF2-40B4-BE49-F238E27FC236}">
                  <a16:creationId xmlns:a16="http://schemas.microsoft.com/office/drawing/2014/main" id="{EC678DE8-55AD-480C-987E-C3214CA99C89}"/>
                </a:ext>
              </a:extLst>
            </p:cNvPr>
            <p:cNvSpPr/>
            <p:nvPr/>
          </p:nvSpPr>
          <p:spPr>
            <a:xfrm>
              <a:off x="5002227" y="5260136"/>
              <a:ext cx="24227" cy="160401"/>
            </a:xfrm>
            <a:custGeom>
              <a:avLst/>
              <a:gdLst>
                <a:gd name="connsiteX0" fmla="*/ 24227 w 24227"/>
                <a:gd name="connsiteY0" fmla="*/ 0 h 160401"/>
                <a:gd name="connsiteX1" fmla="*/ 0 w 24227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160401">
                  <a:moveTo>
                    <a:pt x="24227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6" name="Freeform: Shape 565">
              <a:extLst>
                <a:ext uri="{FF2B5EF4-FFF2-40B4-BE49-F238E27FC236}">
                  <a16:creationId xmlns:a16="http://schemas.microsoft.com/office/drawing/2014/main" id="{B3CBE24E-0A66-4859-A3B4-BC8F981B9247}"/>
                </a:ext>
              </a:extLst>
            </p:cNvPr>
            <p:cNvSpPr/>
            <p:nvPr/>
          </p:nvSpPr>
          <p:spPr>
            <a:xfrm>
              <a:off x="4774992" y="5260136"/>
              <a:ext cx="16151" cy="160401"/>
            </a:xfrm>
            <a:custGeom>
              <a:avLst/>
              <a:gdLst>
                <a:gd name="connsiteX0" fmla="*/ 16151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7" name="Freeform: Shape 566">
              <a:extLst>
                <a:ext uri="{FF2B5EF4-FFF2-40B4-BE49-F238E27FC236}">
                  <a16:creationId xmlns:a16="http://schemas.microsoft.com/office/drawing/2014/main" id="{B095D74F-0AC8-4264-BE6B-B5B5FF3BC21C}"/>
                </a:ext>
              </a:extLst>
            </p:cNvPr>
            <p:cNvSpPr/>
            <p:nvPr/>
          </p:nvSpPr>
          <p:spPr>
            <a:xfrm>
              <a:off x="4318017" y="5260136"/>
              <a:ext cx="29239" cy="160401"/>
            </a:xfrm>
            <a:custGeom>
              <a:avLst/>
              <a:gdLst>
                <a:gd name="connsiteX0" fmla="*/ 29240 w 29239"/>
                <a:gd name="connsiteY0" fmla="*/ 0 h 160401"/>
                <a:gd name="connsiteX1" fmla="*/ 0 w 29239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39" h="160401">
                  <a:moveTo>
                    <a:pt x="2924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8" name="Freeform: Shape 567">
              <a:extLst>
                <a:ext uri="{FF2B5EF4-FFF2-40B4-BE49-F238E27FC236}">
                  <a16:creationId xmlns:a16="http://schemas.microsoft.com/office/drawing/2014/main" id="{78435773-6540-4C34-9AEE-0035A700CBA2}"/>
                </a:ext>
              </a:extLst>
            </p:cNvPr>
            <p:cNvSpPr/>
            <p:nvPr/>
          </p:nvSpPr>
          <p:spPr>
            <a:xfrm>
              <a:off x="2267334" y="1207504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9" name="Freeform: Shape 568">
              <a:extLst>
                <a:ext uri="{FF2B5EF4-FFF2-40B4-BE49-F238E27FC236}">
                  <a16:creationId xmlns:a16="http://schemas.microsoft.com/office/drawing/2014/main" id="{AF7ED7E9-56CE-475E-9A95-D4DC760ECA89}"/>
                </a:ext>
              </a:extLst>
            </p:cNvPr>
            <p:cNvSpPr/>
            <p:nvPr/>
          </p:nvSpPr>
          <p:spPr>
            <a:xfrm>
              <a:off x="2492063" y="1207504"/>
              <a:ext cx="10582" cy="160401"/>
            </a:xfrm>
            <a:custGeom>
              <a:avLst/>
              <a:gdLst>
                <a:gd name="connsiteX0" fmla="*/ 10582 w 10582"/>
                <a:gd name="connsiteY0" fmla="*/ 0 h 160401"/>
                <a:gd name="connsiteX1" fmla="*/ 0 w 1058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160401">
                  <a:moveTo>
                    <a:pt x="1058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0" name="Freeform: Shape 569">
              <a:extLst>
                <a:ext uri="{FF2B5EF4-FFF2-40B4-BE49-F238E27FC236}">
                  <a16:creationId xmlns:a16="http://schemas.microsoft.com/office/drawing/2014/main" id="{0B06D3C9-2141-4780-8F21-9CE04246D262}"/>
                </a:ext>
              </a:extLst>
            </p:cNvPr>
            <p:cNvSpPr/>
            <p:nvPr/>
          </p:nvSpPr>
          <p:spPr>
            <a:xfrm>
              <a:off x="2721804" y="1207504"/>
              <a:ext cx="16151" cy="160401"/>
            </a:xfrm>
            <a:custGeom>
              <a:avLst/>
              <a:gdLst>
                <a:gd name="connsiteX0" fmla="*/ 16152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1" name="Freeform: Shape 570">
              <a:extLst>
                <a:ext uri="{FF2B5EF4-FFF2-40B4-BE49-F238E27FC236}">
                  <a16:creationId xmlns:a16="http://schemas.microsoft.com/office/drawing/2014/main" id="{A3F4D353-343B-4E67-986B-402B17F49B3B}"/>
                </a:ext>
              </a:extLst>
            </p:cNvPr>
            <p:cNvSpPr/>
            <p:nvPr/>
          </p:nvSpPr>
          <p:spPr>
            <a:xfrm>
              <a:off x="2951823" y="1207504"/>
              <a:ext cx="26733" cy="160401"/>
            </a:xfrm>
            <a:custGeom>
              <a:avLst/>
              <a:gdLst>
                <a:gd name="connsiteX0" fmla="*/ 26733 w 26733"/>
                <a:gd name="connsiteY0" fmla="*/ 0 h 160401"/>
                <a:gd name="connsiteX1" fmla="*/ 0 w 26733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60401">
                  <a:moveTo>
                    <a:pt x="2673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2" name="Freeform: Shape 571">
              <a:extLst>
                <a:ext uri="{FF2B5EF4-FFF2-40B4-BE49-F238E27FC236}">
                  <a16:creationId xmlns:a16="http://schemas.microsoft.com/office/drawing/2014/main" id="{64A17488-0CC6-46BE-A5CA-3564468BBF6E}"/>
                </a:ext>
              </a:extLst>
            </p:cNvPr>
            <p:cNvSpPr/>
            <p:nvPr/>
          </p:nvSpPr>
          <p:spPr>
            <a:xfrm>
              <a:off x="2721804" y="533597"/>
              <a:ext cx="34809" cy="160401"/>
            </a:xfrm>
            <a:custGeom>
              <a:avLst/>
              <a:gdLst>
                <a:gd name="connsiteX0" fmla="*/ 34809 w 34809"/>
                <a:gd name="connsiteY0" fmla="*/ 0 h 160401"/>
                <a:gd name="connsiteX1" fmla="*/ 0 w 34809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160401">
                  <a:moveTo>
                    <a:pt x="34809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3" name="Freeform: Shape 572">
              <a:extLst>
                <a:ext uri="{FF2B5EF4-FFF2-40B4-BE49-F238E27FC236}">
                  <a16:creationId xmlns:a16="http://schemas.microsoft.com/office/drawing/2014/main" id="{433B5545-8048-4E80-9288-6C30CAF17F64}"/>
                </a:ext>
              </a:extLst>
            </p:cNvPr>
            <p:cNvSpPr/>
            <p:nvPr/>
          </p:nvSpPr>
          <p:spPr>
            <a:xfrm>
              <a:off x="5002227" y="5035686"/>
              <a:ext cx="40100" cy="160401"/>
            </a:xfrm>
            <a:custGeom>
              <a:avLst/>
              <a:gdLst>
                <a:gd name="connsiteX0" fmla="*/ 40100 w 40100"/>
                <a:gd name="connsiteY0" fmla="*/ 0 h 160401"/>
                <a:gd name="connsiteX1" fmla="*/ 0 w 40100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60401">
                  <a:moveTo>
                    <a:pt x="4010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4" name="Freeform: Shape 573">
              <a:extLst>
                <a:ext uri="{FF2B5EF4-FFF2-40B4-BE49-F238E27FC236}">
                  <a16:creationId xmlns:a16="http://schemas.microsoft.com/office/drawing/2014/main" id="{3E359587-CE23-4036-8FF9-0B539D489E24}"/>
                </a:ext>
              </a:extLst>
            </p:cNvPr>
            <p:cNvSpPr/>
            <p:nvPr/>
          </p:nvSpPr>
          <p:spPr>
            <a:xfrm>
              <a:off x="4774992" y="5035686"/>
              <a:ext cx="32024" cy="160401"/>
            </a:xfrm>
            <a:custGeom>
              <a:avLst/>
              <a:gdLst>
                <a:gd name="connsiteX0" fmla="*/ 32024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4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5" name="Freeform: Shape 574">
              <a:extLst>
                <a:ext uri="{FF2B5EF4-FFF2-40B4-BE49-F238E27FC236}">
                  <a16:creationId xmlns:a16="http://schemas.microsoft.com/office/drawing/2014/main" id="{76CDC3C2-0187-4AAA-A8B0-1D2A8C51D599}"/>
                </a:ext>
              </a:extLst>
            </p:cNvPr>
            <p:cNvSpPr/>
            <p:nvPr/>
          </p:nvSpPr>
          <p:spPr>
            <a:xfrm>
              <a:off x="2492063" y="533597"/>
              <a:ext cx="21442" cy="160401"/>
            </a:xfrm>
            <a:custGeom>
              <a:avLst/>
              <a:gdLst>
                <a:gd name="connsiteX0" fmla="*/ 21442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6" name="Freeform: Shape 575">
              <a:extLst>
                <a:ext uri="{FF2B5EF4-FFF2-40B4-BE49-F238E27FC236}">
                  <a16:creationId xmlns:a16="http://schemas.microsoft.com/office/drawing/2014/main" id="{D33F358C-70E7-45BF-92BF-6FAC74F332D8}"/>
                </a:ext>
              </a:extLst>
            </p:cNvPr>
            <p:cNvSpPr/>
            <p:nvPr/>
          </p:nvSpPr>
          <p:spPr>
            <a:xfrm>
              <a:off x="2492063" y="758325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7" name="Freeform: Shape 576">
              <a:extLst>
                <a:ext uri="{FF2B5EF4-FFF2-40B4-BE49-F238E27FC236}">
                  <a16:creationId xmlns:a16="http://schemas.microsoft.com/office/drawing/2014/main" id="{EBE31A93-407C-49E2-B565-725BA9D08340}"/>
                </a:ext>
              </a:extLst>
            </p:cNvPr>
            <p:cNvSpPr/>
            <p:nvPr/>
          </p:nvSpPr>
          <p:spPr>
            <a:xfrm>
              <a:off x="2262043" y="758325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8" name="Freeform: Shape 577">
              <a:extLst>
                <a:ext uri="{FF2B5EF4-FFF2-40B4-BE49-F238E27FC236}">
                  <a16:creationId xmlns:a16="http://schemas.microsoft.com/office/drawing/2014/main" id="{6D1C1CBE-DB82-4B15-A604-62500AF46DE0}"/>
                </a:ext>
              </a:extLst>
            </p:cNvPr>
            <p:cNvSpPr/>
            <p:nvPr/>
          </p:nvSpPr>
          <p:spPr>
            <a:xfrm>
              <a:off x="2037593" y="758325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9" name="Freeform: Shape 578">
              <a:extLst>
                <a:ext uri="{FF2B5EF4-FFF2-40B4-BE49-F238E27FC236}">
                  <a16:creationId xmlns:a16="http://schemas.microsoft.com/office/drawing/2014/main" id="{720A2E97-4017-4D61-951A-5567967CAC2D}"/>
                </a:ext>
              </a:extLst>
            </p:cNvPr>
            <p:cNvSpPr/>
            <p:nvPr/>
          </p:nvSpPr>
          <p:spPr>
            <a:xfrm>
              <a:off x="1807574" y="758325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0" name="Freeform: Shape 579">
              <a:extLst>
                <a:ext uri="{FF2B5EF4-FFF2-40B4-BE49-F238E27FC236}">
                  <a16:creationId xmlns:a16="http://schemas.microsoft.com/office/drawing/2014/main" id="{7D1817B5-8732-469A-B37C-5B12332C767B}"/>
                </a:ext>
              </a:extLst>
            </p:cNvPr>
            <p:cNvSpPr/>
            <p:nvPr/>
          </p:nvSpPr>
          <p:spPr>
            <a:xfrm>
              <a:off x="2267334" y="1431954"/>
              <a:ext cx="21442" cy="160401"/>
            </a:xfrm>
            <a:custGeom>
              <a:avLst/>
              <a:gdLst>
                <a:gd name="connsiteX0" fmla="*/ 21443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1" name="Freeform: Shape 580">
              <a:extLst>
                <a:ext uri="{FF2B5EF4-FFF2-40B4-BE49-F238E27FC236}">
                  <a16:creationId xmlns:a16="http://schemas.microsoft.com/office/drawing/2014/main" id="{D82CD5F1-B359-469F-A366-0C9B0057B3A5}"/>
                </a:ext>
              </a:extLst>
            </p:cNvPr>
            <p:cNvSpPr/>
            <p:nvPr/>
          </p:nvSpPr>
          <p:spPr>
            <a:xfrm>
              <a:off x="8196880" y="3009231"/>
              <a:ext cx="40100" cy="160401"/>
            </a:xfrm>
            <a:custGeom>
              <a:avLst/>
              <a:gdLst>
                <a:gd name="connsiteX0" fmla="*/ 40100 w 40100"/>
                <a:gd name="connsiteY0" fmla="*/ 0 h 160401"/>
                <a:gd name="connsiteX1" fmla="*/ 0 w 40100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60401">
                  <a:moveTo>
                    <a:pt x="4010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2" name="Freeform: Shape 581">
              <a:extLst>
                <a:ext uri="{FF2B5EF4-FFF2-40B4-BE49-F238E27FC236}">
                  <a16:creationId xmlns:a16="http://schemas.microsoft.com/office/drawing/2014/main" id="{9D552EF9-6905-482E-8D66-7EFB5DDB6CA9}"/>
                </a:ext>
              </a:extLst>
            </p:cNvPr>
            <p:cNvSpPr/>
            <p:nvPr/>
          </p:nvSpPr>
          <p:spPr>
            <a:xfrm>
              <a:off x="1353104" y="758325"/>
              <a:ext cx="32024" cy="160401"/>
            </a:xfrm>
            <a:custGeom>
              <a:avLst/>
              <a:gdLst>
                <a:gd name="connsiteX0" fmla="*/ 32024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4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3" name="Freeform: Shape 582">
              <a:extLst>
                <a:ext uri="{FF2B5EF4-FFF2-40B4-BE49-F238E27FC236}">
                  <a16:creationId xmlns:a16="http://schemas.microsoft.com/office/drawing/2014/main" id="{004C7899-6172-4D91-92F5-612F61C117E7}"/>
                </a:ext>
              </a:extLst>
            </p:cNvPr>
            <p:cNvSpPr/>
            <p:nvPr/>
          </p:nvSpPr>
          <p:spPr>
            <a:xfrm>
              <a:off x="8196880" y="3233681"/>
              <a:ext cx="16151" cy="160401"/>
            </a:xfrm>
            <a:custGeom>
              <a:avLst/>
              <a:gdLst>
                <a:gd name="connsiteX0" fmla="*/ 16152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4" name="Freeform: Shape 583">
              <a:extLst>
                <a:ext uri="{FF2B5EF4-FFF2-40B4-BE49-F238E27FC236}">
                  <a16:creationId xmlns:a16="http://schemas.microsoft.com/office/drawing/2014/main" id="{41FB7744-09A3-41FE-88B3-8FE09BB65408}"/>
                </a:ext>
              </a:extLst>
            </p:cNvPr>
            <p:cNvSpPr/>
            <p:nvPr/>
          </p:nvSpPr>
          <p:spPr>
            <a:xfrm>
              <a:off x="7967139" y="3458409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5" name="Freeform: Shape 584">
              <a:extLst>
                <a:ext uri="{FF2B5EF4-FFF2-40B4-BE49-F238E27FC236}">
                  <a16:creationId xmlns:a16="http://schemas.microsoft.com/office/drawing/2014/main" id="{88F20D1A-226B-4081-A846-347E61229CA0}"/>
                </a:ext>
              </a:extLst>
            </p:cNvPr>
            <p:cNvSpPr/>
            <p:nvPr/>
          </p:nvSpPr>
          <p:spPr>
            <a:xfrm>
              <a:off x="8196880" y="3458409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6" name="Freeform: Shape 585">
              <a:extLst>
                <a:ext uri="{FF2B5EF4-FFF2-40B4-BE49-F238E27FC236}">
                  <a16:creationId xmlns:a16="http://schemas.microsoft.com/office/drawing/2014/main" id="{3A6EC522-1DBF-46F1-A210-2E43B20919FB}"/>
                </a:ext>
              </a:extLst>
            </p:cNvPr>
            <p:cNvSpPr/>
            <p:nvPr/>
          </p:nvSpPr>
          <p:spPr>
            <a:xfrm>
              <a:off x="2267334" y="309147"/>
              <a:ext cx="26733" cy="160401"/>
            </a:xfrm>
            <a:custGeom>
              <a:avLst/>
              <a:gdLst>
                <a:gd name="connsiteX0" fmla="*/ 26733 w 26733"/>
                <a:gd name="connsiteY0" fmla="*/ 0 h 160401"/>
                <a:gd name="connsiteX1" fmla="*/ 0 w 26733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60401">
                  <a:moveTo>
                    <a:pt x="2673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7" name="Freeform: Shape 586">
              <a:extLst>
                <a:ext uri="{FF2B5EF4-FFF2-40B4-BE49-F238E27FC236}">
                  <a16:creationId xmlns:a16="http://schemas.microsoft.com/office/drawing/2014/main" id="{399B27B7-7B6D-4A9E-8F9C-4546E69E6782}"/>
                </a:ext>
              </a:extLst>
            </p:cNvPr>
            <p:cNvSpPr/>
            <p:nvPr/>
          </p:nvSpPr>
          <p:spPr>
            <a:xfrm>
              <a:off x="2037593" y="309147"/>
              <a:ext cx="21442" cy="160401"/>
            </a:xfrm>
            <a:custGeom>
              <a:avLst/>
              <a:gdLst>
                <a:gd name="connsiteX0" fmla="*/ 21443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8" name="Freeform: Shape 587">
              <a:extLst>
                <a:ext uri="{FF2B5EF4-FFF2-40B4-BE49-F238E27FC236}">
                  <a16:creationId xmlns:a16="http://schemas.microsoft.com/office/drawing/2014/main" id="{E943D417-829C-4BEB-A73B-68B4ED46127B}"/>
                </a:ext>
              </a:extLst>
            </p:cNvPr>
            <p:cNvSpPr/>
            <p:nvPr/>
          </p:nvSpPr>
          <p:spPr>
            <a:xfrm>
              <a:off x="1807574" y="309147"/>
              <a:ext cx="21442" cy="160401"/>
            </a:xfrm>
            <a:custGeom>
              <a:avLst/>
              <a:gdLst>
                <a:gd name="connsiteX0" fmla="*/ 21442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9" name="Freeform: Shape 588">
              <a:extLst>
                <a:ext uri="{FF2B5EF4-FFF2-40B4-BE49-F238E27FC236}">
                  <a16:creationId xmlns:a16="http://schemas.microsoft.com/office/drawing/2014/main" id="{109BA5B0-07CD-4F46-8DBD-EECB664D9B7B}"/>
                </a:ext>
              </a:extLst>
            </p:cNvPr>
            <p:cNvSpPr/>
            <p:nvPr/>
          </p:nvSpPr>
          <p:spPr>
            <a:xfrm>
              <a:off x="1583124" y="309147"/>
              <a:ext cx="32024" cy="160401"/>
            </a:xfrm>
            <a:custGeom>
              <a:avLst/>
              <a:gdLst>
                <a:gd name="connsiteX0" fmla="*/ 32025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5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0" name="Freeform: Shape 589">
              <a:extLst>
                <a:ext uri="{FF2B5EF4-FFF2-40B4-BE49-F238E27FC236}">
                  <a16:creationId xmlns:a16="http://schemas.microsoft.com/office/drawing/2014/main" id="{6EFC8CD7-A98C-4E99-BF33-34940E59952F}"/>
                </a:ext>
              </a:extLst>
            </p:cNvPr>
            <p:cNvSpPr/>
            <p:nvPr/>
          </p:nvSpPr>
          <p:spPr>
            <a:xfrm>
              <a:off x="7967139" y="3682859"/>
              <a:ext cx="10582" cy="160401"/>
            </a:xfrm>
            <a:custGeom>
              <a:avLst/>
              <a:gdLst>
                <a:gd name="connsiteX0" fmla="*/ 10582 w 10582"/>
                <a:gd name="connsiteY0" fmla="*/ 0 h 160401"/>
                <a:gd name="connsiteX1" fmla="*/ 0 w 1058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160401">
                  <a:moveTo>
                    <a:pt x="1058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1" name="Freeform: Shape 590">
              <a:extLst>
                <a:ext uri="{FF2B5EF4-FFF2-40B4-BE49-F238E27FC236}">
                  <a16:creationId xmlns:a16="http://schemas.microsoft.com/office/drawing/2014/main" id="{2805CB89-5D44-4AA4-AEB3-BDCF5C87A7A5}"/>
                </a:ext>
              </a:extLst>
            </p:cNvPr>
            <p:cNvSpPr/>
            <p:nvPr/>
          </p:nvSpPr>
          <p:spPr>
            <a:xfrm>
              <a:off x="8196880" y="3682859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2" name="Freeform: Shape 591">
              <a:extLst>
                <a:ext uri="{FF2B5EF4-FFF2-40B4-BE49-F238E27FC236}">
                  <a16:creationId xmlns:a16="http://schemas.microsoft.com/office/drawing/2014/main" id="{190D93EC-0ECB-40B3-A018-2B659FC1957B}"/>
                </a:ext>
              </a:extLst>
            </p:cNvPr>
            <p:cNvSpPr/>
            <p:nvPr/>
          </p:nvSpPr>
          <p:spPr>
            <a:xfrm>
              <a:off x="7967139" y="3907588"/>
              <a:ext cx="26733" cy="160401"/>
            </a:xfrm>
            <a:custGeom>
              <a:avLst/>
              <a:gdLst>
                <a:gd name="connsiteX0" fmla="*/ 26734 w 26733"/>
                <a:gd name="connsiteY0" fmla="*/ 0 h 160401"/>
                <a:gd name="connsiteX1" fmla="*/ 0 w 26733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60401">
                  <a:moveTo>
                    <a:pt x="26734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3" name="Freeform: Shape 592">
              <a:extLst>
                <a:ext uri="{FF2B5EF4-FFF2-40B4-BE49-F238E27FC236}">
                  <a16:creationId xmlns:a16="http://schemas.microsoft.com/office/drawing/2014/main" id="{6F1413CB-9D50-4BEA-B49F-47C05AC6231F}"/>
                </a:ext>
              </a:extLst>
            </p:cNvPr>
            <p:cNvSpPr/>
            <p:nvPr/>
          </p:nvSpPr>
          <p:spPr>
            <a:xfrm>
              <a:off x="7734335" y="3912879"/>
              <a:ext cx="45669" cy="155110"/>
            </a:xfrm>
            <a:custGeom>
              <a:avLst/>
              <a:gdLst>
                <a:gd name="connsiteX0" fmla="*/ 45670 w 45669"/>
                <a:gd name="connsiteY0" fmla="*/ 0 h 155110"/>
                <a:gd name="connsiteX1" fmla="*/ 0 w 45669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669" h="155110">
                  <a:moveTo>
                    <a:pt x="45670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4" name="Freeform: Shape 593">
              <a:extLst>
                <a:ext uri="{FF2B5EF4-FFF2-40B4-BE49-F238E27FC236}">
                  <a16:creationId xmlns:a16="http://schemas.microsoft.com/office/drawing/2014/main" id="{2F333EB4-96C4-4644-962A-F6C953712A3F}"/>
                </a:ext>
              </a:extLst>
            </p:cNvPr>
            <p:cNvSpPr/>
            <p:nvPr/>
          </p:nvSpPr>
          <p:spPr>
            <a:xfrm>
              <a:off x="2489278" y="1661974"/>
              <a:ext cx="50960" cy="154831"/>
            </a:xfrm>
            <a:custGeom>
              <a:avLst/>
              <a:gdLst>
                <a:gd name="connsiteX0" fmla="*/ 50961 w 50960"/>
                <a:gd name="connsiteY0" fmla="*/ 0 h 154831"/>
                <a:gd name="connsiteX1" fmla="*/ 0 w 50960"/>
                <a:gd name="connsiteY1" fmla="*/ 154832 h 15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60" h="154831">
                  <a:moveTo>
                    <a:pt x="50961" y="0"/>
                  </a:moveTo>
                  <a:lnTo>
                    <a:pt x="0" y="15483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5" name="Freeform: Shape 594">
              <a:extLst>
                <a:ext uri="{FF2B5EF4-FFF2-40B4-BE49-F238E27FC236}">
                  <a16:creationId xmlns:a16="http://schemas.microsoft.com/office/drawing/2014/main" id="{627D3104-F4DE-480E-B4C7-4A8BCEB15C26}"/>
                </a:ext>
              </a:extLst>
            </p:cNvPr>
            <p:cNvSpPr/>
            <p:nvPr/>
          </p:nvSpPr>
          <p:spPr>
            <a:xfrm>
              <a:off x="7967139" y="3236465"/>
              <a:ext cx="21164" cy="157616"/>
            </a:xfrm>
            <a:custGeom>
              <a:avLst/>
              <a:gdLst>
                <a:gd name="connsiteX0" fmla="*/ 21164 w 21164"/>
                <a:gd name="connsiteY0" fmla="*/ 0 h 157616"/>
                <a:gd name="connsiteX1" fmla="*/ 0 w 21164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157616">
                  <a:moveTo>
                    <a:pt x="2116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6" name="Freeform: Shape 595">
              <a:extLst>
                <a:ext uri="{FF2B5EF4-FFF2-40B4-BE49-F238E27FC236}">
                  <a16:creationId xmlns:a16="http://schemas.microsoft.com/office/drawing/2014/main" id="{E08C1371-901C-402A-924E-AAE29C8537B7}"/>
                </a:ext>
              </a:extLst>
            </p:cNvPr>
            <p:cNvSpPr/>
            <p:nvPr/>
          </p:nvSpPr>
          <p:spPr>
            <a:xfrm>
              <a:off x="1353104" y="536382"/>
              <a:ext cx="37593" cy="157616"/>
            </a:xfrm>
            <a:custGeom>
              <a:avLst/>
              <a:gdLst>
                <a:gd name="connsiteX0" fmla="*/ 37594 w 37593"/>
                <a:gd name="connsiteY0" fmla="*/ 0 h 157616"/>
                <a:gd name="connsiteX1" fmla="*/ 5291 w 37593"/>
                <a:gd name="connsiteY1" fmla="*/ 133668 h 157616"/>
                <a:gd name="connsiteX2" fmla="*/ 0 w 37593"/>
                <a:gd name="connsiteY2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593" h="157616">
                  <a:moveTo>
                    <a:pt x="37594" y="0"/>
                  </a:moveTo>
                  <a:lnTo>
                    <a:pt x="5291" y="133668"/>
                  </a:lnTo>
                  <a:lnTo>
                    <a:pt x="0" y="157616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7" name="Freeform: Shape 596">
              <a:extLst>
                <a:ext uri="{FF2B5EF4-FFF2-40B4-BE49-F238E27FC236}">
                  <a16:creationId xmlns:a16="http://schemas.microsoft.com/office/drawing/2014/main" id="{DA980259-C74D-47E9-AEB9-F33BB7FD0ECC}"/>
                </a:ext>
              </a:extLst>
            </p:cNvPr>
            <p:cNvSpPr/>
            <p:nvPr/>
          </p:nvSpPr>
          <p:spPr>
            <a:xfrm>
              <a:off x="8418824" y="3912879"/>
              <a:ext cx="40100" cy="155110"/>
            </a:xfrm>
            <a:custGeom>
              <a:avLst/>
              <a:gdLst>
                <a:gd name="connsiteX0" fmla="*/ 40101 w 40100"/>
                <a:gd name="connsiteY0" fmla="*/ 0 h 155110"/>
                <a:gd name="connsiteX1" fmla="*/ 0 w 40100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55110">
                  <a:moveTo>
                    <a:pt x="40101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8" name="Freeform: Shape 597">
              <a:extLst>
                <a:ext uri="{FF2B5EF4-FFF2-40B4-BE49-F238E27FC236}">
                  <a16:creationId xmlns:a16="http://schemas.microsoft.com/office/drawing/2014/main" id="{F1385684-4B9F-4780-8E02-FEFE016AB38A}"/>
                </a:ext>
              </a:extLst>
            </p:cNvPr>
            <p:cNvSpPr/>
            <p:nvPr/>
          </p:nvSpPr>
          <p:spPr>
            <a:xfrm>
              <a:off x="4545251" y="5035686"/>
              <a:ext cx="37315" cy="157616"/>
            </a:xfrm>
            <a:custGeom>
              <a:avLst/>
              <a:gdLst>
                <a:gd name="connsiteX0" fmla="*/ 37315 w 37315"/>
                <a:gd name="connsiteY0" fmla="*/ 0 h 157616"/>
                <a:gd name="connsiteX1" fmla="*/ 0 w 37315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15" h="157616">
                  <a:moveTo>
                    <a:pt x="37315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9" name="Freeform: Shape 598">
              <a:extLst>
                <a:ext uri="{FF2B5EF4-FFF2-40B4-BE49-F238E27FC236}">
                  <a16:creationId xmlns:a16="http://schemas.microsoft.com/office/drawing/2014/main" id="{FC5FFAD3-EDB0-4751-A67F-9BE44FDDBC09}"/>
                </a:ext>
              </a:extLst>
            </p:cNvPr>
            <p:cNvSpPr/>
            <p:nvPr/>
          </p:nvSpPr>
          <p:spPr>
            <a:xfrm>
              <a:off x="7737120" y="3682859"/>
              <a:ext cx="29518" cy="157894"/>
            </a:xfrm>
            <a:custGeom>
              <a:avLst/>
              <a:gdLst>
                <a:gd name="connsiteX0" fmla="*/ 29518 w 29518"/>
                <a:gd name="connsiteY0" fmla="*/ 0 h 157894"/>
                <a:gd name="connsiteX1" fmla="*/ 0 w 29518"/>
                <a:gd name="connsiteY1" fmla="*/ 157895 h 157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518" h="157894">
                  <a:moveTo>
                    <a:pt x="29518" y="0"/>
                  </a:moveTo>
                  <a:lnTo>
                    <a:pt x="0" y="15789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0" name="Freeform: Shape 599">
              <a:extLst>
                <a:ext uri="{FF2B5EF4-FFF2-40B4-BE49-F238E27FC236}">
                  <a16:creationId xmlns:a16="http://schemas.microsoft.com/office/drawing/2014/main" id="{ADC5B200-2FD6-43EC-AB61-7B6924B14B9A}"/>
                </a:ext>
              </a:extLst>
            </p:cNvPr>
            <p:cNvSpPr/>
            <p:nvPr/>
          </p:nvSpPr>
          <p:spPr>
            <a:xfrm>
              <a:off x="3173767" y="1212795"/>
              <a:ext cx="45391" cy="155110"/>
            </a:xfrm>
            <a:custGeom>
              <a:avLst/>
              <a:gdLst>
                <a:gd name="connsiteX0" fmla="*/ 45391 w 45391"/>
                <a:gd name="connsiteY0" fmla="*/ 0 h 155110"/>
                <a:gd name="connsiteX1" fmla="*/ 0 w 45391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91" h="155110">
                  <a:moveTo>
                    <a:pt x="45391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1" name="Freeform: Shape 600">
              <a:extLst>
                <a:ext uri="{FF2B5EF4-FFF2-40B4-BE49-F238E27FC236}">
                  <a16:creationId xmlns:a16="http://schemas.microsoft.com/office/drawing/2014/main" id="{3C271D63-EB8B-49FF-AC62-BDC0834012C2}"/>
                </a:ext>
              </a:extLst>
            </p:cNvPr>
            <p:cNvSpPr/>
            <p:nvPr/>
          </p:nvSpPr>
          <p:spPr>
            <a:xfrm>
              <a:off x="5229462" y="5260136"/>
              <a:ext cx="40100" cy="157894"/>
            </a:xfrm>
            <a:custGeom>
              <a:avLst/>
              <a:gdLst>
                <a:gd name="connsiteX0" fmla="*/ 40100 w 40100"/>
                <a:gd name="connsiteY0" fmla="*/ 0 h 157894"/>
                <a:gd name="connsiteX1" fmla="*/ 0 w 40100"/>
                <a:gd name="connsiteY1" fmla="*/ 157895 h 157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57894">
                  <a:moveTo>
                    <a:pt x="40100" y="0"/>
                  </a:moveTo>
                  <a:lnTo>
                    <a:pt x="0" y="15789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2" name="Freeform: Shape 601">
              <a:extLst>
                <a:ext uri="{FF2B5EF4-FFF2-40B4-BE49-F238E27FC236}">
                  <a16:creationId xmlns:a16="http://schemas.microsoft.com/office/drawing/2014/main" id="{454E5C60-C022-4C6B-81FE-8E4B51022AD4}"/>
                </a:ext>
              </a:extLst>
            </p:cNvPr>
            <p:cNvSpPr/>
            <p:nvPr/>
          </p:nvSpPr>
          <p:spPr>
            <a:xfrm>
              <a:off x="4545251" y="5262921"/>
              <a:ext cx="21164" cy="157616"/>
            </a:xfrm>
            <a:custGeom>
              <a:avLst/>
              <a:gdLst>
                <a:gd name="connsiteX0" fmla="*/ 21164 w 21164"/>
                <a:gd name="connsiteY0" fmla="*/ 0 h 157616"/>
                <a:gd name="connsiteX1" fmla="*/ 0 w 21164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157616">
                  <a:moveTo>
                    <a:pt x="2116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3" name="Freeform: Shape 602">
              <a:extLst>
                <a:ext uri="{FF2B5EF4-FFF2-40B4-BE49-F238E27FC236}">
                  <a16:creationId xmlns:a16="http://schemas.microsoft.com/office/drawing/2014/main" id="{3A8570FC-395C-4100-8D10-A81EB9F09689}"/>
                </a:ext>
              </a:extLst>
            </p:cNvPr>
            <p:cNvSpPr/>
            <p:nvPr/>
          </p:nvSpPr>
          <p:spPr>
            <a:xfrm>
              <a:off x="2492063" y="1431954"/>
              <a:ext cx="26733" cy="157616"/>
            </a:xfrm>
            <a:custGeom>
              <a:avLst/>
              <a:gdLst>
                <a:gd name="connsiteX0" fmla="*/ 26734 w 26733"/>
                <a:gd name="connsiteY0" fmla="*/ 0 h 157616"/>
                <a:gd name="connsiteX1" fmla="*/ 0 w 26733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7616">
                  <a:moveTo>
                    <a:pt x="2673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4" name="Freeform: Shape 603">
              <a:extLst>
                <a:ext uri="{FF2B5EF4-FFF2-40B4-BE49-F238E27FC236}">
                  <a16:creationId xmlns:a16="http://schemas.microsoft.com/office/drawing/2014/main" id="{01A56095-15F8-4068-992D-4F0A43310B3B}"/>
                </a:ext>
              </a:extLst>
            </p:cNvPr>
            <p:cNvSpPr/>
            <p:nvPr/>
          </p:nvSpPr>
          <p:spPr>
            <a:xfrm>
              <a:off x="2951823" y="1437245"/>
              <a:ext cx="40100" cy="155110"/>
            </a:xfrm>
            <a:custGeom>
              <a:avLst/>
              <a:gdLst>
                <a:gd name="connsiteX0" fmla="*/ 40100 w 40100"/>
                <a:gd name="connsiteY0" fmla="*/ 0 h 155110"/>
                <a:gd name="connsiteX1" fmla="*/ 0 w 40100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55110">
                  <a:moveTo>
                    <a:pt x="40100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5" name="Freeform: Shape 604">
              <a:extLst>
                <a:ext uri="{FF2B5EF4-FFF2-40B4-BE49-F238E27FC236}">
                  <a16:creationId xmlns:a16="http://schemas.microsoft.com/office/drawing/2014/main" id="{4C8CF5EC-CF28-4D7D-9A29-9991DEBE8AE8}"/>
                </a:ext>
              </a:extLst>
            </p:cNvPr>
            <p:cNvSpPr/>
            <p:nvPr/>
          </p:nvSpPr>
          <p:spPr>
            <a:xfrm>
              <a:off x="1805068" y="1437245"/>
              <a:ext cx="45391" cy="155110"/>
            </a:xfrm>
            <a:custGeom>
              <a:avLst/>
              <a:gdLst>
                <a:gd name="connsiteX0" fmla="*/ 45391 w 45391"/>
                <a:gd name="connsiteY0" fmla="*/ 0 h 155110"/>
                <a:gd name="connsiteX1" fmla="*/ 0 w 45391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91" h="155110">
                  <a:moveTo>
                    <a:pt x="45391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6" name="Freeform: Shape 605">
              <a:extLst>
                <a:ext uri="{FF2B5EF4-FFF2-40B4-BE49-F238E27FC236}">
                  <a16:creationId xmlns:a16="http://schemas.microsoft.com/office/drawing/2014/main" id="{B0DCC5F2-E6EC-4AE7-893F-7ED80C8571C9}"/>
                </a:ext>
              </a:extLst>
            </p:cNvPr>
            <p:cNvSpPr/>
            <p:nvPr/>
          </p:nvSpPr>
          <p:spPr>
            <a:xfrm>
              <a:off x="3173767" y="988067"/>
              <a:ext cx="45391" cy="155110"/>
            </a:xfrm>
            <a:custGeom>
              <a:avLst/>
              <a:gdLst>
                <a:gd name="connsiteX0" fmla="*/ 45391 w 45391"/>
                <a:gd name="connsiteY0" fmla="*/ 0 h 155110"/>
                <a:gd name="connsiteX1" fmla="*/ 0 w 45391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91" h="155110">
                  <a:moveTo>
                    <a:pt x="45391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7" name="Freeform: Shape 606">
              <a:extLst>
                <a:ext uri="{FF2B5EF4-FFF2-40B4-BE49-F238E27FC236}">
                  <a16:creationId xmlns:a16="http://schemas.microsoft.com/office/drawing/2014/main" id="{BA03A5A9-065C-4B65-9BF3-8DDF1247ECE2}"/>
                </a:ext>
              </a:extLst>
            </p:cNvPr>
            <p:cNvSpPr/>
            <p:nvPr/>
          </p:nvSpPr>
          <p:spPr>
            <a:xfrm>
              <a:off x="8421609" y="3458409"/>
              <a:ext cx="21164" cy="157616"/>
            </a:xfrm>
            <a:custGeom>
              <a:avLst/>
              <a:gdLst>
                <a:gd name="connsiteX0" fmla="*/ 21164 w 21164"/>
                <a:gd name="connsiteY0" fmla="*/ 0 h 157616"/>
                <a:gd name="connsiteX1" fmla="*/ 0 w 21164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157616">
                  <a:moveTo>
                    <a:pt x="2116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8" name="Freeform: Shape 607">
              <a:extLst>
                <a:ext uri="{FF2B5EF4-FFF2-40B4-BE49-F238E27FC236}">
                  <a16:creationId xmlns:a16="http://schemas.microsoft.com/office/drawing/2014/main" id="{560D239E-85B8-4444-B5CA-742DE6297681}"/>
                </a:ext>
              </a:extLst>
            </p:cNvPr>
            <p:cNvSpPr/>
            <p:nvPr/>
          </p:nvSpPr>
          <p:spPr>
            <a:xfrm>
              <a:off x="3173767" y="763616"/>
              <a:ext cx="55973" cy="155110"/>
            </a:xfrm>
            <a:custGeom>
              <a:avLst/>
              <a:gdLst>
                <a:gd name="connsiteX0" fmla="*/ 55973 w 55973"/>
                <a:gd name="connsiteY0" fmla="*/ 0 h 155110"/>
                <a:gd name="connsiteX1" fmla="*/ 0 w 55973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155110">
                  <a:moveTo>
                    <a:pt x="55973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9" name="Freeform: Shape 608">
              <a:extLst>
                <a:ext uri="{FF2B5EF4-FFF2-40B4-BE49-F238E27FC236}">
                  <a16:creationId xmlns:a16="http://schemas.microsoft.com/office/drawing/2014/main" id="{BF5BFABB-5092-4EEF-8539-3311D1610114}"/>
                </a:ext>
              </a:extLst>
            </p:cNvPr>
            <p:cNvSpPr/>
            <p:nvPr/>
          </p:nvSpPr>
          <p:spPr>
            <a:xfrm>
              <a:off x="7737120" y="3458409"/>
              <a:ext cx="26733" cy="157616"/>
            </a:xfrm>
            <a:custGeom>
              <a:avLst/>
              <a:gdLst>
                <a:gd name="connsiteX0" fmla="*/ 26734 w 26733"/>
                <a:gd name="connsiteY0" fmla="*/ 0 h 157616"/>
                <a:gd name="connsiteX1" fmla="*/ 0 w 26733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7616">
                  <a:moveTo>
                    <a:pt x="2673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0" name="Freeform: Shape 609">
              <a:extLst>
                <a:ext uri="{FF2B5EF4-FFF2-40B4-BE49-F238E27FC236}">
                  <a16:creationId xmlns:a16="http://schemas.microsoft.com/office/drawing/2014/main" id="{2C29D2AB-9DC4-40EA-AA56-E3C9F7CF44EC}"/>
                </a:ext>
              </a:extLst>
            </p:cNvPr>
            <p:cNvSpPr/>
            <p:nvPr/>
          </p:nvSpPr>
          <p:spPr>
            <a:xfrm>
              <a:off x="4999721" y="5484864"/>
              <a:ext cx="15873" cy="157616"/>
            </a:xfrm>
            <a:custGeom>
              <a:avLst/>
              <a:gdLst>
                <a:gd name="connsiteX0" fmla="*/ 15873 w 15873"/>
                <a:gd name="connsiteY0" fmla="*/ 0 h 157616"/>
                <a:gd name="connsiteX1" fmla="*/ 0 w 15873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873" h="157616">
                  <a:moveTo>
                    <a:pt x="15873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1" name="Freeform: Shape 610">
              <a:extLst>
                <a:ext uri="{FF2B5EF4-FFF2-40B4-BE49-F238E27FC236}">
                  <a16:creationId xmlns:a16="http://schemas.microsoft.com/office/drawing/2014/main" id="{712D9F2A-3970-42B7-A9E7-E4ED9413273E}"/>
                </a:ext>
              </a:extLst>
            </p:cNvPr>
            <p:cNvSpPr/>
            <p:nvPr/>
          </p:nvSpPr>
          <p:spPr>
            <a:xfrm>
              <a:off x="8421609" y="3233681"/>
              <a:ext cx="32024" cy="157894"/>
            </a:xfrm>
            <a:custGeom>
              <a:avLst/>
              <a:gdLst>
                <a:gd name="connsiteX0" fmla="*/ 32024 w 32024"/>
                <a:gd name="connsiteY0" fmla="*/ 0 h 157894"/>
                <a:gd name="connsiteX1" fmla="*/ 0 w 32024"/>
                <a:gd name="connsiteY1" fmla="*/ 157895 h 157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57894">
                  <a:moveTo>
                    <a:pt x="32024" y="0"/>
                  </a:moveTo>
                  <a:lnTo>
                    <a:pt x="0" y="15789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2" name="Freeform: Shape 611">
              <a:extLst>
                <a:ext uri="{FF2B5EF4-FFF2-40B4-BE49-F238E27FC236}">
                  <a16:creationId xmlns:a16="http://schemas.microsoft.com/office/drawing/2014/main" id="{7FDDEB3D-7233-4DE2-B3ED-FD7A76072963}"/>
                </a:ext>
              </a:extLst>
            </p:cNvPr>
            <p:cNvSpPr/>
            <p:nvPr/>
          </p:nvSpPr>
          <p:spPr>
            <a:xfrm>
              <a:off x="2951823" y="539166"/>
              <a:ext cx="50682" cy="154831"/>
            </a:xfrm>
            <a:custGeom>
              <a:avLst/>
              <a:gdLst>
                <a:gd name="connsiteX0" fmla="*/ 50682 w 50682"/>
                <a:gd name="connsiteY0" fmla="*/ 0 h 154831"/>
                <a:gd name="connsiteX1" fmla="*/ 0 w 50682"/>
                <a:gd name="connsiteY1" fmla="*/ 154832 h 15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154831">
                  <a:moveTo>
                    <a:pt x="50682" y="0"/>
                  </a:moveTo>
                  <a:lnTo>
                    <a:pt x="0" y="15483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3" name="Freeform: Shape 612">
              <a:extLst>
                <a:ext uri="{FF2B5EF4-FFF2-40B4-BE49-F238E27FC236}">
                  <a16:creationId xmlns:a16="http://schemas.microsoft.com/office/drawing/2014/main" id="{FBFA74EF-A9C7-4901-A997-727F3990DA97}"/>
                </a:ext>
              </a:extLst>
            </p:cNvPr>
            <p:cNvSpPr/>
            <p:nvPr/>
          </p:nvSpPr>
          <p:spPr>
            <a:xfrm>
              <a:off x="7512670" y="3688150"/>
              <a:ext cx="50682" cy="155110"/>
            </a:xfrm>
            <a:custGeom>
              <a:avLst/>
              <a:gdLst>
                <a:gd name="connsiteX0" fmla="*/ 50682 w 50682"/>
                <a:gd name="connsiteY0" fmla="*/ 0 h 155110"/>
                <a:gd name="connsiteX1" fmla="*/ 0 w 50682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155110">
                  <a:moveTo>
                    <a:pt x="50682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4" name="Freeform: Shape 613">
              <a:extLst>
                <a:ext uri="{FF2B5EF4-FFF2-40B4-BE49-F238E27FC236}">
                  <a16:creationId xmlns:a16="http://schemas.microsoft.com/office/drawing/2014/main" id="{E0BD37FD-BC89-4F79-A217-3570814CF687}"/>
                </a:ext>
              </a:extLst>
            </p:cNvPr>
            <p:cNvSpPr/>
            <p:nvPr/>
          </p:nvSpPr>
          <p:spPr>
            <a:xfrm>
              <a:off x="8421609" y="3685644"/>
              <a:ext cx="26733" cy="155110"/>
            </a:xfrm>
            <a:custGeom>
              <a:avLst/>
              <a:gdLst>
                <a:gd name="connsiteX0" fmla="*/ 26734 w 26733"/>
                <a:gd name="connsiteY0" fmla="*/ 0 h 155110"/>
                <a:gd name="connsiteX1" fmla="*/ 0 w 26733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5110">
                  <a:moveTo>
                    <a:pt x="26734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5" name="Freeform: Shape 614">
              <a:extLst>
                <a:ext uri="{FF2B5EF4-FFF2-40B4-BE49-F238E27FC236}">
                  <a16:creationId xmlns:a16="http://schemas.microsoft.com/office/drawing/2014/main" id="{AD9CF80B-FDDA-4C2A-8BD5-D0F26671FADF}"/>
                </a:ext>
              </a:extLst>
            </p:cNvPr>
            <p:cNvSpPr/>
            <p:nvPr/>
          </p:nvSpPr>
          <p:spPr>
            <a:xfrm>
              <a:off x="4774992" y="4816527"/>
              <a:ext cx="53467" cy="154831"/>
            </a:xfrm>
            <a:custGeom>
              <a:avLst/>
              <a:gdLst>
                <a:gd name="connsiteX0" fmla="*/ 53467 w 53467"/>
                <a:gd name="connsiteY0" fmla="*/ 0 h 154831"/>
                <a:gd name="connsiteX1" fmla="*/ 0 w 53467"/>
                <a:gd name="connsiteY1" fmla="*/ 154832 h 15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154831">
                  <a:moveTo>
                    <a:pt x="53467" y="0"/>
                  </a:moveTo>
                  <a:lnTo>
                    <a:pt x="0" y="15483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6" name="Freeform: Shape 615">
              <a:extLst>
                <a:ext uri="{FF2B5EF4-FFF2-40B4-BE49-F238E27FC236}">
                  <a16:creationId xmlns:a16="http://schemas.microsoft.com/office/drawing/2014/main" id="{2AC9F723-8BB0-49A6-8EE2-4142E095B497}"/>
                </a:ext>
              </a:extLst>
            </p:cNvPr>
            <p:cNvSpPr/>
            <p:nvPr/>
          </p:nvSpPr>
          <p:spPr>
            <a:xfrm>
              <a:off x="2494569" y="309147"/>
              <a:ext cx="42884" cy="155110"/>
            </a:xfrm>
            <a:custGeom>
              <a:avLst/>
              <a:gdLst>
                <a:gd name="connsiteX0" fmla="*/ 42885 w 42884"/>
                <a:gd name="connsiteY0" fmla="*/ 0 h 155110"/>
                <a:gd name="connsiteX1" fmla="*/ 0 w 42884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155110">
                  <a:moveTo>
                    <a:pt x="42885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7" name="Freeform: Shape 616">
              <a:extLst>
                <a:ext uri="{FF2B5EF4-FFF2-40B4-BE49-F238E27FC236}">
                  <a16:creationId xmlns:a16="http://schemas.microsoft.com/office/drawing/2014/main" id="{15D6BC58-012C-45E9-BCCF-DE974965025D}"/>
                </a:ext>
              </a:extLst>
            </p:cNvPr>
            <p:cNvSpPr/>
            <p:nvPr/>
          </p:nvSpPr>
          <p:spPr>
            <a:xfrm>
              <a:off x="3173767" y="1440030"/>
              <a:ext cx="50682" cy="152325"/>
            </a:xfrm>
            <a:custGeom>
              <a:avLst/>
              <a:gdLst>
                <a:gd name="connsiteX0" fmla="*/ 50682 w 50682"/>
                <a:gd name="connsiteY0" fmla="*/ 0 h 152325"/>
                <a:gd name="connsiteX1" fmla="*/ 0 w 50682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152325">
                  <a:moveTo>
                    <a:pt x="50682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8" name="Freeform: Shape 617">
              <a:extLst>
                <a:ext uri="{FF2B5EF4-FFF2-40B4-BE49-F238E27FC236}">
                  <a16:creationId xmlns:a16="http://schemas.microsoft.com/office/drawing/2014/main" id="{6B772B68-2FA9-41C0-B2FC-16A0C6640F9B}"/>
                </a:ext>
              </a:extLst>
            </p:cNvPr>
            <p:cNvSpPr/>
            <p:nvPr/>
          </p:nvSpPr>
          <p:spPr>
            <a:xfrm>
              <a:off x="4090782" y="5265427"/>
              <a:ext cx="42606" cy="155110"/>
            </a:xfrm>
            <a:custGeom>
              <a:avLst/>
              <a:gdLst>
                <a:gd name="connsiteX0" fmla="*/ 42607 w 42606"/>
                <a:gd name="connsiteY0" fmla="*/ 0 h 155110"/>
                <a:gd name="connsiteX1" fmla="*/ 0 w 42606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155110">
                  <a:moveTo>
                    <a:pt x="42607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9" name="Freeform: Shape 618">
              <a:extLst>
                <a:ext uri="{FF2B5EF4-FFF2-40B4-BE49-F238E27FC236}">
                  <a16:creationId xmlns:a16="http://schemas.microsoft.com/office/drawing/2014/main" id="{64051C13-0597-49CF-98D3-AB9C23E93B5D}"/>
                </a:ext>
              </a:extLst>
            </p:cNvPr>
            <p:cNvSpPr/>
            <p:nvPr/>
          </p:nvSpPr>
          <p:spPr>
            <a:xfrm>
              <a:off x="1580339" y="763616"/>
              <a:ext cx="2784" cy="155110"/>
            </a:xfrm>
            <a:custGeom>
              <a:avLst/>
              <a:gdLst>
                <a:gd name="connsiteX0" fmla="*/ 0 w 2784"/>
                <a:gd name="connsiteY0" fmla="*/ 0 h 155110"/>
                <a:gd name="connsiteX1" fmla="*/ 2785 w 2784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55110">
                  <a:moveTo>
                    <a:pt x="0" y="0"/>
                  </a:moveTo>
                  <a:lnTo>
                    <a:pt x="2785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0" name="Freeform: Shape 619">
              <a:extLst>
                <a:ext uri="{FF2B5EF4-FFF2-40B4-BE49-F238E27FC236}">
                  <a16:creationId xmlns:a16="http://schemas.microsoft.com/office/drawing/2014/main" id="{06785760-64A5-4C40-8788-BD58024900AF}"/>
                </a:ext>
              </a:extLst>
            </p:cNvPr>
            <p:cNvSpPr/>
            <p:nvPr/>
          </p:nvSpPr>
          <p:spPr>
            <a:xfrm>
              <a:off x="7512670" y="3463700"/>
              <a:ext cx="47897" cy="155110"/>
            </a:xfrm>
            <a:custGeom>
              <a:avLst/>
              <a:gdLst>
                <a:gd name="connsiteX0" fmla="*/ 47898 w 47897"/>
                <a:gd name="connsiteY0" fmla="*/ 0 h 155110"/>
                <a:gd name="connsiteX1" fmla="*/ 0 w 47897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97" h="155110">
                  <a:moveTo>
                    <a:pt x="47898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1" name="Freeform: Shape 620">
              <a:extLst>
                <a:ext uri="{FF2B5EF4-FFF2-40B4-BE49-F238E27FC236}">
                  <a16:creationId xmlns:a16="http://schemas.microsoft.com/office/drawing/2014/main" id="{57A1CBB5-905D-4D5A-896E-9ECFC8CD574C}"/>
                </a:ext>
              </a:extLst>
            </p:cNvPr>
            <p:cNvSpPr/>
            <p:nvPr/>
          </p:nvSpPr>
          <p:spPr>
            <a:xfrm>
              <a:off x="5459481" y="5265427"/>
              <a:ext cx="55973" cy="155110"/>
            </a:xfrm>
            <a:custGeom>
              <a:avLst/>
              <a:gdLst>
                <a:gd name="connsiteX0" fmla="*/ 55973 w 55973"/>
                <a:gd name="connsiteY0" fmla="*/ 0 h 155110"/>
                <a:gd name="connsiteX1" fmla="*/ 0 w 55973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155110">
                  <a:moveTo>
                    <a:pt x="55973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2" name="Freeform: Shape 621">
              <a:extLst>
                <a:ext uri="{FF2B5EF4-FFF2-40B4-BE49-F238E27FC236}">
                  <a16:creationId xmlns:a16="http://schemas.microsoft.com/office/drawing/2014/main" id="{940996BD-CE58-42C4-BEB1-A6B3B50844CD}"/>
                </a:ext>
              </a:extLst>
            </p:cNvPr>
            <p:cNvSpPr/>
            <p:nvPr/>
          </p:nvSpPr>
          <p:spPr>
            <a:xfrm>
              <a:off x="5459481" y="5490155"/>
              <a:ext cx="48175" cy="155110"/>
            </a:xfrm>
            <a:custGeom>
              <a:avLst/>
              <a:gdLst>
                <a:gd name="connsiteX0" fmla="*/ 48176 w 48175"/>
                <a:gd name="connsiteY0" fmla="*/ 0 h 155110"/>
                <a:gd name="connsiteX1" fmla="*/ 0 w 48175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55110">
                  <a:moveTo>
                    <a:pt x="48176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3" name="Freeform: Shape 622">
              <a:extLst>
                <a:ext uri="{FF2B5EF4-FFF2-40B4-BE49-F238E27FC236}">
                  <a16:creationId xmlns:a16="http://schemas.microsoft.com/office/drawing/2014/main" id="{56BDD835-54D2-4BE7-BABF-BB4A1272920D}"/>
                </a:ext>
              </a:extLst>
            </p:cNvPr>
            <p:cNvSpPr/>
            <p:nvPr/>
          </p:nvSpPr>
          <p:spPr>
            <a:xfrm>
              <a:off x="7739905" y="3014522"/>
              <a:ext cx="53466" cy="155110"/>
            </a:xfrm>
            <a:custGeom>
              <a:avLst/>
              <a:gdLst>
                <a:gd name="connsiteX0" fmla="*/ 53467 w 53466"/>
                <a:gd name="connsiteY0" fmla="*/ 0 h 155110"/>
                <a:gd name="connsiteX1" fmla="*/ 0 w 53466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6" h="155110">
                  <a:moveTo>
                    <a:pt x="53467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4" name="Freeform: Shape 623">
              <a:extLst>
                <a:ext uri="{FF2B5EF4-FFF2-40B4-BE49-F238E27FC236}">
                  <a16:creationId xmlns:a16="http://schemas.microsoft.com/office/drawing/2014/main" id="{F102C415-F774-4DD9-8E07-0608D969AEA9}"/>
                </a:ext>
              </a:extLst>
            </p:cNvPr>
            <p:cNvSpPr/>
            <p:nvPr/>
          </p:nvSpPr>
          <p:spPr>
            <a:xfrm>
              <a:off x="8424115" y="3014522"/>
              <a:ext cx="50960" cy="155110"/>
            </a:xfrm>
            <a:custGeom>
              <a:avLst/>
              <a:gdLst>
                <a:gd name="connsiteX0" fmla="*/ 50960 w 50960"/>
                <a:gd name="connsiteY0" fmla="*/ 0 h 155110"/>
                <a:gd name="connsiteX1" fmla="*/ 0 w 50960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60" h="155110">
                  <a:moveTo>
                    <a:pt x="50960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5" name="Freeform: Shape 624">
              <a:extLst>
                <a:ext uri="{FF2B5EF4-FFF2-40B4-BE49-F238E27FC236}">
                  <a16:creationId xmlns:a16="http://schemas.microsoft.com/office/drawing/2014/main" id="{32A0ADBB-F26F-4D13-902A-006DCD2AA2EF}"/>
                </a:ext>
              </a:extLst>
            </p:cNvPr>
            <p:cNvSpPr/>
            <p:nvPr/>
          </p:nvSpPr>
          <p:spPr>
            <a:xfrm>
              <a:off x="4318017" y="5043762"/>
              <a:ext cx="42606" cy="152325"/>
            </a:xfrm>
            <a:custGeom>
              <a:avLst/>
              <a:gdLst>
                <a:gd name="connsiteX0" fmla="*/ 42607 w 42606"/>
                <a:gd name="connsiteY0" fmla="*/ 0 h 152325"/>
                <a:gd name="connsiteX1" fmla="*/ 0 w 42606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152325">
                  <a:moveTo>
                    <a:pt x="42607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6" name="Freeform: Shape 625">
              <a:extLst>
                <a:ext uri="{FF2B5EF4-FFF2-40B4-BE49-F238E27FC236}">
                  <a16:creationId xmlns:a16="http://schemas.microsoft.com/office/drawing/2014/main" id="{E879BC0C-A227-419A-865D-D75FC573E774}"/>
                </a:ext>
              </a:extLst>
            </p:cNvPr>
            <p:cNvSpPr/>
            <p:nvPr/>
          </p:nvSpPr>
          <p:spPr>
            <a:xfrm>
              <a:off x="4090782" y="5492662"/>
              <a:ext cx="34530" cy="152603"/>
            </a:xfrm>
            <a:custGeom>
              <a:avLst/>
              <a:gdLst>
                <a:gd name="connsiteX0" fmla="*/ 34531 w 34530"/>
                <a:gd name="connsiteY0" fmla="*/ 0 h 152603"/>
                <a:gd name="connsiteX1" fmla="*/ 0 w 34530"/>
                <a:gd name="connsiteY1" fmla="*/ 152604 h 152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30" h="152603">
                  <a:moveTo>
                    <a:pt x="34531" y="0"/>
                  </a:moveTo>
                  <a:lnTo>
                    <a:pt x="0" y="1526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7" name="Freeform: Shape 626">
              <a:extLst>
                <a:ext uri="{FF2B5EF4-FFF2-40B4-BE49-F238E27FC236}">
                  <a16:creationId xmlns:a16="http://schemas.microsoft.com/office/drawing/2014/main" id="{5EA8331B-45AF-4878-8816-0787365AC998}"/>
                </a:ext>
              </a:extLst>
            </p:cNvPr>
            <p:cNvSpPr/>
            <p:nvPr/>
          </p:nvSpPr>
          <p:spPr>
            <a:xfrm>
              <a:off x="8196880" y="3915385"/>
              <a:ext cx="24227" cy="152603"/>
            </a:xfrm>
            <a:custGeom>
              <a:avLst/>
              <a:gdLst>
                <a:gd name="connsiteX0" fmla="*/ 24227 w 24227"/>
                <a:gd name="connsiteY0" fmla="*/ 0 h 152603"/>
                <a:gd name="connsiteX1" fmla="*/ 0 w 24227"/>
                <a:gd name="connsiteY1" fmla="*/ 152604 h 152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152603">
                  <a:moveTo>
                    <a:pt x="24227" y="0"/>
                  </a:moveTo>
                  <a:lnTo>
                    <a:pt x="0" y="1526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8" name="Freeform: Shape 627">
              <a:extLst>
                <a:ext uri="{FF2B5EF4-FFF2-40B4-BE49-F238E27FC236}">
                  <a16:creationId xmlns:a16="http://schemas.microsoft.com/office/drawing/2014/main" id="{35839439-7A52-44A0-9541-7F09144AB63A}"/>
                </a:ext>
              </a:extLst>
            </p:cNvPr>
            <p:cNvSpPr/>
            <p:nvPr/>
          </p:nvSpPr>
          <p:spPr>
            <a:xfrm>
              <a:off x="7967139" y="3014522"/>
              <a:ext cx="42606" cy="152325"/>
            </a:xfrm>
            <a:custGeom>
              <a:avLst/>
              <a:gdLst>
                <a:gd name="connsiteX0" fmla="*/ 42607 w 42606"/>
                <a:gd name="connsiteY0" fmla="*/ 0 h 152325"/>
                <a:gd name="connsiteX1" fmla="*/ 0 w 42606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152325">
                  <a:moveTo>
                    <a:pt x="42607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9" name="Freeform: Shape 628">
              <a:extLst>
                <a:ext uri="{FF2B5EF4-FFF2-40B4-BE49-F238E27FC236}">
                  <a16:creationId xmlns:a16="http://schemas.microsoft.com/office/drawing/2014/main" id="{893EE397-3E06-49FF-889A-01C339C5FC45}"/>
                </a:ext>
              </a:extLst>
            </p:cNvPr>
            <p:cNvSpPr/>
            <p:nvPr/>
          </p:nvSpPr>
          <p:spPr>
            <a:xfrm>
              <a:off x="3863547" y="5495446"/>
              <a:ext cx="58758" cy="149819"/>
            </a:xfrm>
            <a:custGeom>
              <a:avLst/>
              <a:gdLst>
                <a:gd name="connsiteX0" fmla="*/ 58758 w 58758"/>
                <a:gd name="connsiteY0" fmla="*/ 0 h 149819"/>
                <a:gd name="connsiteX1" fmla="*/ 0 w 58758"/>
                <a:gd name="connsiteY1" fmla="*/ 149819 h 149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9819">
                  <a:moveTo>
                    <a:pt x="58758" y="0"/>
                  </a:moveTo>
                  <a:lnTo>
                    <a:pt x="0" y="1498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0" name="Freeform: Shape 629">
              <a:extLst>
                <a:ext uri="{FF2B5EF4-FFF2-40B4-BE49-F238E27FC236}">
                  <a16:creationId xmlns:a16="http://schemas.microsoft.com/office/drawing/2014/main" id="{9FB35956-7344-49D2-B5CA-51659752DA52}"/>
                </a:ext>
              </a:extLst>
            </p:cNvPr>
            <p:cNvSpPr/>
            <p:nvPr/>
          </p:nvSpPr>
          <p:spPr>
            <a:xfrm>
              <a:off x="4090782" y="5040977"/>
              <a:ext cx="55973" cy="152325"/>
            </a:xfrm>
            <a:custGeom>
              <a:avLst/>
              <a:gdLst>
                <a:gd name="connsiteX0" fmla="*/ 55973 w 55973"/>
                <a:gd name="connsiteY0" fmla="*/ 0 h 152325"/>
                <a:gd name="connsiteX1" fmla="*/ 0 w 55973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152325">
                  <a:moveTo>
                    <a:pt x="55973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1" name="Freeform: Shape 630">
              <a:extLst>
                <a:ext uri="{FF2B5EF4-FFF2-40B4-BE49-F238E27FC236}">
                  <a16:creationId xmlns:a16="http://schemas.microsoft.com/office/drawing/2014/main" id="{A7A469EE-15DB-496D-9813-2C1368A1DA4E}"/>
                </a:ext>
              </a:extLst>
            </p:cNvPr>
            <p:cNvSpPr/>
            <p:nvPr/>
          </p:nvSpPr>
          <p:spPr>
            <a:xfrm>
              <a:off x="8651350" y="3463700"/>
              <a:ext cx="42884" cy="152325"/>
            </a:xfrm>
            <a:custGeom>
              <a:avLst/>
              <a:gdLst>
                <a:gd name="connsiteX0" fmla="*/ 42885 w 42884"/>
                <a:gd name="connsiteY0" fmla="*/ 0 h 152325"/>
                <a:gd name="connsiteX1" fmla="*/ 0 w 42884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152325">
                  <a:moveTo>
                    <a:pt x="42885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2" name="Freeform: Shape 631">
              <a:extLst>
                <a:ext uri="{FF2B5EF4-FFF2-40B4-BE49-F238E27FC236}">
                  <a16:creationId xmlns:a16="http://schemas.microsoft.com/office/drawing/2014/main" id="{C88A3B35-3D0A-46F1-8523-F3AA62FF9FD5}"/>
                </a:ext>
              </a:extLst>
            </p:cNvPr>
            <p:cNvSpPr/>
            <p:nvPr/>
          </p:nvSpPr>
          <p:spPr>
            <a:xfrm>
              <a:off x="3173767" y="1669771"/>
              <a:ext cx="61542" cy="147034"/>
            </a:xfrm>
            <a:custGeom>
              <a:avLst/>
              <a:gdLst>
                <a:gd name="connsiteX0" fmla="*/ 61543 w 61542"/>
                <a:gd name="connsiteY0" fmla="*/ 0 h 147034"/>
                <a:gd name="connsiteX1" fmla="*/ 0 w 61542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147034">
                  <a:moveTo>
                    <a:pt x="61543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4" name="Freeform: Shape 633">
              <a:extLst>
                <a:ext uri="{FF2B5EF4-FFF2-40B4-BE49-F238E27FC236}">
                  <a16:creationId xmlns:a16="http://schemas.microsoft.com/office/drawing/2014/main" id="{0DBC4A8A-367F-4CD3-B068-37CFDA665EC7}"/>
                </a:ext>
              </a:extLst>
            </p:cNvPr>
            <p:cNvSpPr/>
            <p:nvPr/>
          </p:nvSpPr>
          <p:spPr>
            <a:xfrm>
              <a:off x="2721804" y="1440030"/>
              <a:ext cx="26733" cy="152325"/>
            </a:xfrm>
            <a:custGeom>
              <a:avLst/>
              <a:gdLst>
                <a:gd name="connsiteX0" fmla="*/ 26734 w 26733"/>
                <a:gd name="connsiteY0" fmla="*/ 0 h 152325"/>
                <a:gd name="connsiteX1" fmla="*/ 0 w 26733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2325">
                  <a:moveTo>
                    <a:pt x="26734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5" name="Freeform: Shape 634">
              <a:extLst>
                <a:ext uri="{FF2B5EF4-FFF2-40B4-BE49-F238E27FC236}">
                  <a16:creationId xmlns:a16="http://schemas.microsoft.com/office/drawing/2014/main" id="{9E27C14B-A10D-45AB-BE14-FFB7DC61A204}"/>
                </a:ext>
              </a:extLst>
            </p:cNvPr>
            <p:cNvSpPr/>
            <p:nvPr/>
          </p:nvSpPr>
          <p:spPr>
            <a:xfrm>
              <a:off x="2037593" y="1440030"/>
              <a:ext cx="26733" cy="152325"/>
            </a:xfrm>
            <a:custGeom>
              <a:avLst/>
              <a:gdLst>
                <a:gd name="connsiteX0" fmla="*/ 26733 w 26733"/>
                <a:gd name="connsiteY0" fmla="*/ 0 h 152325"/>
                <a:gd name="connsiteX1" fmla="*/ 0 w 26733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2325">
                  <a:moveTo>
                    <a:pt x="26733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6" name="Freeform: Shape 635">
              <a:extLst>
                <a:ext uri="{FF2B5EF4-FFF2-40B4-BE49-F238E27FC236}">
                  <a16:creationId xmlns:a16="http://schemas.microsoft.com/office/drawing/2014/main" id="{D9FB4D88-0FB3-48A0-BF9C-D248C8E7D557}"/>
                </a:ext>
              </a:extLst>
            </p:cNvPr>
            <p:cNvSpPr/>
            <p:nvPr/>
          </p:nvSpPr>
          <p:spPr>
            <a:xfrm>
              <a:off x="1353104" y="314438"/>
              <a:ext cx="56251" cy="152325"/>
            </a:xfrm>
            <a:custGeom>
              <a:avLst/>
              <a:gdLst>
                <a:gd name="connsiteX0" fmla="*/ 56252 w 56251"/>
                <a:gd name="connsiteY0" fmla="*/ 0 h 152325"/>
                <a:gd name="connsiteX1" fmla="*/ 0 w 56251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251" h="152325">
                  <a:moveTo>
                    <a:pt x="56252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8" name="Freeform: Shape 637">
              <a:extLst>
                <a:ext uri="{FF2B5EF4-FFF2-40B4-BE49-F238E27FC236}">
                  <a16:creationId xmlns:a16="http://schemas.microsoft.com/office/drawing/2014/main" id="{DEDBE0F4-923A-4867-9FE1-AF09D4FFE144}"/>
                </a:ext>
              </a:extLst>
            </p:cNvPr>
            <p:cNvSpPr/>
            <p:nvPr/>
          </p:nvSpPr>
          <p:spPr>
            <a:xfrm>
              <a:off x="8651350" y="3690935"/>
              <a:ext cx="48175" cy="149819"/>
            </a:xfrm>
            <a:custGeom>
              <a:avLst/>
              <a:gdLst>
                <a:gd name="connsiteX0" fmla="*/ 48176 w 48175"/>
                <a:gd name="connsiteY0" fmla="*/ 0 h 149819"/>
                <a:gd name="connsiteX1" fmla="*/ 0 w 48175"/>
                <a:gd name="connsiteY1" fmla="*/ 149819 h 149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49819">
                  <a:moveTo>
                    <a:pt x="48176" y="0"/>
                  </a:moveTo>
                  <a:lnTo>
                    <a:pt x="0" y="1498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9" name="Freeform: Shape 638">
              <a:extLst>
                <a:ext uri="{FF2B5EF4-FFF2-40B4-BE49-F238E27FC236}">
                  <a16:creationId xmlns:a16="http://schemas.microsoft.com/office/drawing/2014/main" id="{C621FEB8-1A52-4750-AA50-57A79E319B75}"/>
                </a:ext>
              </a:extLst>
            </p:cNvPr>
            <p:cNvSpPr/>
            <p:nvPr/>
          </p:nvSpPr>
          <p:spPr>
            <a:xfrm>
              <a:off x="7512670" y="3244541"/>
              <a:ext cx="53466" cy="149540"/>
            </a:xfrm>
            <a:custGeom>
              <a:avLst/>
              <a:gdLst>
                <a:gd name="connsiteX0" fmla="*/ 53467 w 53466"/>
                <a:gd name="connsiteY0" fmla="*/ 0 h 149540"/>
                <a:gd name="connsiteX1" fmla="*/ 0 w 53466"/>
                <a:gd name="connsiteY1" fmla="*/ 149540 h 149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6" h="149540">
                  <a:moveTo>
                    <a:pt x="53467" y="0"/>
                  </a:moveTo>
                  <a:lnTo>
                    <a:pt x="0" y="1495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0" name="Freeform: Shape 639">
              <a:extLst>
                <a:ext uri="{FF2B5EF4-FFF2-40B4-BE49-F238E27FC236}">
                  <a16:creationId xmlns:a16="http://schemas.microsoft.com/office/drawing/2014/main" id="{749363E5-F53B-490A-9053-0678C425EB24}"/>
                </a:ext>
              </a:extLst>
            </p:cNvPr>
            <p:cNvSpPr/>
            <p:nvPr/>
          </p:nvSpPr>
          <p:spPr>
            <a:xfrm>
              <a:off x="3179058" y="1897006"/>
              <a:ext cx="69618" cy="149819"/>
            </a:xfrm>
            <a:custGeom>
              <a:avLst/>
              <a:gdLst>
                <a:gd name="connsiteX0" fmla="*/ 69618 w 69618"/>
                <a:gd name="connsiteY0" fmla="*/ 0 h 149819"/>
                <a:gd name="connsiteX1" fmla="*/ 0 w 69618"/>
                <a:gd name="connsiteY1" fmla="*/ 149819 h 149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149819">
                  <a:moveTo>
                    <a:pt x="69618" y="0"/>
                  </a:moveTo>
                  <a:lnTo>
                    <a:pt x="0" y="1498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1" name="Freeform: Shape 640">
              <a:extLst>
                <a:ext uri="{FF2B5EF4-FFF2-40B4-BE49-F238E27FC236}">
                  <a16:creationId xmlns:a16="http://schemas.microsoft.com/office/drawing/2014/main" id="{A79FDAD8-3CE0-442F-B5D4-C37AC6674464}"/>
                </a:ext>
              </a:extLst>
            </p:cNvPr>
            <p:cNvSpPr/>
            <p:nvPr/>
          </p:nvSpPr>
          <p:spPr>
            <a:xfrm>
              <a:off x="1353104" y="990851"/>
              <a:ext cx="42884" cy="149818"/>
            </a:xfrm>
            <a:custGeom>
              <a:avLst/>
              <a:gdLst>
                <a:gd name="connsiteX0" fmla="*/ 42885 w 42884"/>
                <a:gd name="connsiteY0" fmla="*/ 0 h 149818"/>
                <a:gd name="connsiteX1" fmla="*/ 5291 w 42884"/>
                <a:gd name="connsiteY1" fmla="*/ 136452 h 149818"/>
                <a:gd name="connsiteX2" fmla="*/ 0 w 42884"/>
                <a:gd name="connsiteY2" fmla="*/ 149819 h 149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884" h="149818">
                  <a:moveTo>
                    <a:pt x="42885" y="0"/>
                  </a:moveTo>
                  <a:lnTo>
                    <a:pt x="5291" y="136452"/>
                  </a:lnTo>
                  <a:lnTo>
                    <a:pt x="0" y="149819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2" name="Freeform: Shape 641">
              <a:extLst>
                <a:ext uri="{FF2B5EF4-FFF2-40B4-BE49-F238E27FC236}">
                  <a16:creationId xmlns:a16="http://schemas.microsoft.com/office/drawing/2014/main" id="{E9E8F4F7-7D50-4BCC-865E-D23EC012D2C2}"/>
                </a:ext>
              </a:extLst>
            </p:cNvPr>
            <p:cNvSpPr/>
            <p:nvPr/>
          </p:nvSpPr>
          <p:spPr>
            <a:xfrm>
              <a:off x="8196880" y="4142620"/>
              <a:ext cx="48175" cy="149819"/>
            </a:xfrm>
            <a:custGeom>
              <a:avLst/>
              <a:gdLst>
                <a:gd name="connsiteX0" fmla="*/ 48176 w 48175"/>
                <a:gd name="connsiteY0" fmla="*/ 0 h 149819"/>
                <a:gd name="connsiteX1" fmla="*/ 0 w 48175"/>
                <a:gd name="connsiteY1" fmla="*/ 149819 h 149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49819">
                  <a:moveTo>
                    <a:pt x="48176" y="0"/>
                  </a:moveTo>
                  <a:lnTo>
                    <a:pt x="0" y="1498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3" name="Freeform: Shape 642">
              <a:extLst>
                <a:ext uri="{FF2B5EF4-FFF2-40B4-BE49-F238E27FC236}">
                  <a16:creationId xmlns:a16="http://schemas.microsoft.com/office/drawing/2014/main" id="{75E2C70C-FA27-4A0C-AD00-4CBD69E124CD}"/>
                </a:ext>
              </a:extLst>
            </p:cNvPr>
            <p:cNvSpPr/>
            <p:nvPr/>
          </p:nvSpPr>
          <p:spPr>
            <a:xfrm>
              <a:off x="7512670" y="3918170"/>
              <a:ext cx="61264" cy="147034"/>
            </a:xfrm>
            <a:custGeom>
              <a:avLst/>
              <a:gdLst>
                <a:gd name="connsiteX0" fmla="*/ 61264 w 61264"/>
                <a:gd name="connsiteY0" fmla="*/ 0 h 147034"/>
                <a:gd name="connsiteX1" fmla="*/ 0 w 61264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147034">
                  <a:moveTo>
                    <a:pt x="6126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4" name="Freeform: Shape 643">
              <a:extLst>
                <a:ext uri="{FF2B5EF4-FFF2-40B4-BE49-F238E27FC236}">
                  <a16:creationId xmlns:a16="http://schemas.microsoft.com/office/drawing/2014/main" id="{298D3514-6489-493B-A1CE-E2305903C247}"/>
                </a:ext>
              </a:extLst>
            </p:cNvPr>
            <p:cNvSpPr/>
            <p:nvPr/>
          </p:nvSpPr>
          <p:spPr>
            <a:xfrm>
              <a:off x="8196880" y="2795363"/>
              <a:ext cx="66833" cy="147034"/>
            </a:xfrm>
            <a:custGeom>
              <a:avLst/>
              <a:gdLst>
                <a:gd name="connsiteX0" fmla="*/ 66834 w 66833"/>
                <a:gd name="connsiteY0" fmla="*/ 0 h 147034"/>
                <a:gd name="connsiteX1" fmla="*/ 0 w 66833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7034">
                  <a:moveTo>
                    <a:pt x="6683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5" name="Freeform: Shape 644">
              <a:extLst>
                <a:ext uri="{FF2B5EF4-FFF2-40B4-BE49-F238E27FC236}">
                  <a16:creationId xmlns:a16="http://schemas.microsoft.com/office/drawing/2014/main" id="{374DFB06-D86B-4724-9206-F5584AC68F4A}"/>
                </a:ext>
              </a:extLst>
            </p:cNvPr>
            <p:cNvSpPr/>
            <p:nvPr/>
          </p:nvSpPr>
          <p:spPr>
            <a:xfrm>
              <a:off x="3863547" y="5273503"/>
              <a:ext cx="61264" cy="147034"/>
            </a:xfrm>
            <a:custGeom>
              <a:avLst/>
              <a:gdLst>
                <a:gd name="connsiteX0" fmla="*/ 61264 w 61264"/>
                <a:gd name="connsiteY0" fmla="*/ 0 h 147034"/>
                <a:gd name="connsiteX1" fmla="*/ 0 w 61264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147034">
                  <a:moveTo>
                    <a:pt x="6126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6" name="Freeform: Shape 645">
              <a:extLst>
                <a:ext uri="{FF2B5EF4-FFF2-40B4-BE49-F238E27FC236}">
                  <a16:creationId xmlns:a16="http://schemas.microsoft.com/office/drawing/2014/main" id="{67CCDF42-123B-4162-A517-F8C7FDD9E578}"/>
                </a:ext>
              </a:extLst>
            </p:cNvPr>
            <p:cNvSpPr/>
            <p:nvPr/>
          </p:nvSpPr>
          <p:spPr>
            <a:xfrm>
              <a:off x="5232247" y="5043762"/>
              <a:ext cx="50682" cy="147034"/>
            </a:xfrm>
            <a:custGeom>
              <a:avLst/>
              <a:gdLst>
                <a:gd name="connsiteX0" fmla="*/ 50682 w 50682"/>
                <a:gd name="connsiteY0" fmla="*/ 0 h 147034"/>
                <a:gd name="connsiteX1" fmla="*/ 0 w 50682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147034">
                  <a:moveTo>
                    <a:pt x="50682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7" name="Freeform: Shape 646">
              <a:extLst>
                <a:ext uri="{FF2B5EF4-FFF2-40B4-BE49-F238E27FC236}">
                  <a16:creationId xmlns:a16="http://schemas.microsoft.com/office/drawing/2014/main" id="{B1C0D4EA-8EDA-4207-8FAD-FCCC2C7EB73B}"/>
                </a:ext>
              </a:extLst>
            </p:cNvPr>
            <p:cNvSpPr/>
            <p:nvPr/>
          </p:nvSpPr>
          <p:spPr>
            <a:xfrm>
              <a:off x="4318017" y="4824324"/>
              <a:ext cx="61264" cy="147034"/>
            </a:xfrm>
            <a:custGeom>
              <a:avLst/>
              <a:gdLst>
                <a:gd name="connsiteX0" fmla="*/ 61264 w 61264"/>
                <a:gd name="connsiteY0" fmla="*/ 0 h 147034"/>
                <a:gd name="connsiteX1" fmla="*/ 0 w 61264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147034">
                  <a:moveTo>
                    <a:pt x="6126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8" name="Freeform: Shape 647">
              <a:extLst>
                <a:ext uri="{FF2B5EF4-FFF2-40B4-BE49-F238E27FC236}">
                  <a16:creationId xmlns:a16="http://schemas.microsoft.com/office/drawing/2014/main" id="{59EDC5D2-55EC-4396-A6B3-9911F3E4F8EA}"/>
                </a:ext>
              </a:extLst>
            </p:cNvPr>
            <p:cNvSpPr/>
            <p:nvPr/>
          </p:nvSpPr>
          <p:spPr>
            <a:xfrm>
              <a:off x="2951823" y="1669771"/>
              <a:ext cx="48175" cy="147034"/>
            </a:xfrm>
            <a:custGeom>
              <a:avLst/>
              <a:gdLst>
                <a:gd name="connsiteX0" fmla="*/ 48176 w 48175"/>
                <a:gd name="connsiteY0" fmla="*/ 0 h 147034"/>
                <a:gd name="connsiteX1" fmla="*/ 0 w 48175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47034">
                  <a:moveTo>
                    <a:pt x="48176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9" name="Freeform: Shape 648">
              <a:extLst>
                <a:ext uri="{FF2B5EF4-FFF2-40B4-BE49-F238E27FC236}">
                  <a16:creationId xmlns:a16="http://schemas.microsoft.com/office/drawing/2014/main" id="{1059163E-237E-4714-A1A2-113CE4032442}"/>
                </a:ext>
              </a:extLst>
            </p:cNvPr>
            <p:cNvSpPr/>
            <p:nvPr/>
          </p:nvSpPr>
          <p:spPr>
            <a:xfrm>
              <a:off x="2267334" y="1669771"/>
              <a:ext cx="48175" cy="147034"/>
            </a:xfrm>
            <a:custGeom>
              <a:avLst/>
              <a:gdLst>
                <a:gd name="connsiteX0" fmla="*/ 48176 w 48175"/>
                <a:gd name="connsiteY0" fmla="*/ 0 h 147034"/>
                <a:gd name="connsiteX1" fmla="*/ 0 w 48175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47034">
                  <a:moveTo>
                    <a:pt x="48176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0" name="Freeform: Shape 649">
              <a:extLst>
                <a:ext uri="{FF2B5EF4-FFF2-40B4-BE49-F238E27FC236}">
                  <a16:creationId xmlns:a16="http://schemas.microsoft.com/office/drawing/2014/main" id="{9AE06B7A-104E-433A-83BC-2412DAA37787}"/>
                </a:ext>
              </a:extLst>
            </p:cNvPr>
            <p:cNvSpPr/>
            <p:nvPr/>
          </p:nvSpPr>
          <p:spPr>
            <a:xfrm>
              <a:off x="5002227" y="4824324"/>
              <a:ext cx="56251" cy="147034"/>
            </a:xfrm>
            <a:custGeom>
              <a:avLst/>
              <a:gdLst>
                <a:gd name="connsiteX0" fmla="*/ 56252 w 56251"/>
                <a:gd name="connsiteY0" fmla="*/ 0 h 147034"/>
                <a:gd name="connsiteX1" fmla="*/ 0 w 56251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251" h="147034">
                  <a:moveTo>
                    <a:pt x="56252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1" name="Freeform: Shape 650">
              <a:extLst>
                <a:ext uri="{FF2B5EF4-FFF2-40B4-BE49-F238E27FC236}">
                  <a16:creationId xmlns:a16="http://schemas.microsoft.com/office/drawing/2014/main" id="{FD2BBBAC-516D-4E49-8EA3-C3D996EBCE14}"/>
                </a:ext>
              </a:extLst>
            </p:cNvPr>
            <p:cNvSpPr/>
            <p:nvPr/>
          </p:nvSpPr>
          <p:spPr>
            <a:xfrm>
              <a:off x="2037593" y="1667265"/>
              <a:ext cx="58758" cy="147034"/>
            </a:xfrm>
            <a:custGeom>
              <a:avLst/>
              <a:gdLst>
                <a:gd name="connsiteX0" fmla="*/ 58758 w 58758"/>
                <a:gd name="connsiteY0" fmla="*/ 0 h 147034"/>
                <a:gd name="connsiteX1" fmla="*/ 0 w 58758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7034">
                  <a:moveTo>
                    <a:pt x="58758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2" name="Freeform: Shape 651">
              <a:extLst>
                <a:ext uri="{FF2B5EF4-FFF2-40B4-BE49-F238E27FC236}">
                  <a16:creationId xmlns:a16="http://schemas.microsoft.com/office/drawing/2014/main" id="{07C6C898-F45E-45B9-B7F4-824BBDB12024}"/>
                </a:ext>
              </a:extLst>
            </p:cNvPr>
            <p:cNvSpPr/>
            <p:nvPr/>
          </p:nvSpPr>
          <p:spPr>
            <a:xfrm>
              <a:off x="5459481" y="5046268"/>
              <a:ext cx="66833" cy="147034"/>
            </a:xfrm>
            <a:custGeom>
              <a:avLst/>
              <a:gdLst>
                <a:gd name="connsiteX0" fmla="*/ 66834 w 66833"/>
                <a:gd name="connsiteY0" fmla="*/ 0 h 147034"/>
                <a:gd name="connsiteX1" fmla="*/ 0 w 66833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7034">
                  <a:moveTo>
                    <a:pt x="6683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3" name="Freeform: Shape 652">
              <a:extLst>
                <a:ext uri="{FF2B5EF4-FFF2-40B4-BE49-F238E27FC236}">
                  <a16:creationId xmlns:a16="http://schemas.microsoft.com/office/drawing/2014/main" id="{299EAAEE-1251-43A3-8301-544EF78B8FCD}"/>
                </a:ext>
              </a:extLst>
            </p:cNvPr>
            <p:cNvSpPr/>
            <p:nvPr/>
          </p:nvSpPr>
          <p:spPr>
            <a:xfrm>
              <a:off x="3406293" y="1442536"/>
              <a:ext cx="53467" cy="147034"/>
            </a:xfrm>
            <a:custGeom>
              <a:avLst/>
              <a:gdLst>
                <a:gd name="connsiteX0" fmla="*/ 53467 w 53467"/>
                <a:gd name="connsiteY0" fmla="*/ 0 h 147034"/>
                <a:gd name="connsiteX1" fmla="*/ 0 w 53467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147034">
                  <a:moveTo>
                    <a:pt x="53467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4" name="Freeform: Shape 653">
              <a:extLst>
                <a:ext uri="{FF2B5EF4-FFF2-40B4-BE49-F238E27FC236}">
                  <a16:creationId xmlns:a16="http://schemas.microsoft.com/office/drawing/2014/main" id="{F5498F25-F0AA-4EC6-A196-83DDBF13A604}"/>
                </a:ext>
              </a:extLst>
            </p:cNvPr>
            <p:cNvSpPr/>
            <p:nvPr/>
          </p:nvSpPr>
          <p:spPr>
            <a:xfrm>
              <a:off x="1583124" y="1442536"/>
              <a:ext cx="61542" cy="147034"/>
            </a:xfrm>
            <a:custGeom>
              <a:avLst/>
              <a:gdLst>
                <a:gd name="connsiteX0" fmla="*/ 61543 w 61542"/>
                <a:gd name="connsiteY0" fmla="*/ 0 h 147034"/>
                <a:gd name="connsiteX1" fmla="*/ 0 w 61542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147034">
                  <a:moveTo>
                    <a:pt x="61543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6" name="Freeform: Shape 655">
              <a:extLst>
                <a:ext uri="{FF2B5EF4-FFF2-40B4-BE49-F238E27FC236}">
                  <a16:creationId xmlns:a16="http://schemas.microsoft.com/office/drawing/2014/main" id="{BFDB21D9-969B-4C18-AA9D-464ABD9504E0}"/>
                </a:ext>
              </a:extLst>
            </p:cNvPr>
            <p:cNvSpPr/>
            <p:nvPr/>
          </p:nvSpPr>
          <p:spPr>
            <a:xfrm>
              <a:off x="2721804" y="322514"/>
              <a:ext cx="59036" cy="144249"/>
            </a:xfrm>
            <a:custGeom>
              <a:avLst/>
              <a:gdLst>
                <a:gd name="connsiteX0" fmla="*/ 59036 w 59036"/>
                <a:gd name="connsiteY0" fmla="*/ 0 h 144249"/>
                <a:gd name="connsiteX1" fmla="*/ 0 w 59036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036" h="144249">
                  <a:moveTo>
                    <a:pt x="59036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7" name="Freeform: Shape 656">
              <a:extLst>
                <a:ext uri="{FF2B5EF4-FFF2-40B4-BE49-F238E27FC236}">
                  <a16:creationId xmlns:a16="http://schemas.microsoft.com/office/drawing/2014/main" id="{D60E4385-0709-414B-A206-83C4867F177D}"/>
                </a:ext>
              </a:extLst>
            </p:cNvPr>
            <p:cNvSpPr/>
            <p:nvPr/>
          </p:nvSpPr>
          <p:spPr>
            <a:xfrm>
              <a:off x="2951823" y="325298"/>
              <a:ext cx="72124" cy="144249"/>
            </a:xfrm>
            <a:custGeom>
              <a:avLst/>
              <a:gdLst>
                <a:gd name="connsiteX0" fmla="*/ 72125 w 72124"/>
                <a:gd name="connsiteY0" fmla="*/ 0 h 144249"/>
                <a:gd name="connsiteX1" fmla="*/ 0 w 72124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4249">
                  <a:moveTo>
                    <a:pt x="72125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9" name="Freeform: Shape 658">
              <a:extLst>
                <a:ext uri="{FF2B5EF4-FFF2-40B4-BE49-F238E27FC236}">
                  <a16:creationId xmlns:a16="http://schemas.microsoft.com/office/drawing/2014/main" id="{CD9D25CF-AB2B-4157-8BCA-2E127B100A2E}"/>
                </a:ext>
              </a:extLst>
            </p:cNvPr>
            <p:cNvSpPr/>
            <p:nvPr/>
          </p:nvSpPr>
          <p:spPr>
            <a:xfrm>
              <a:off x="7967139" y="4145405"/>
              <a:ext cx="53466" cy="144249"/>
            </a:xfrm>
            <a:custGeom>
              <a:avLst/>
              <a:gdLst>
                <a:gd name="connsiteX0" fmla="*/ 53467 w 53466"/>
                <a:gd name="connsiteY0" fmla="*/ 0 h 144249"/>
                <a:gd name="connsiteX1" fmla="*/ 0 w 53466"/>
                <a:gd name="connsiteY1" fmla="*/ 144249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6" h="144249">
                  <a:moveTo>
                    <a:pt x="53467" y="0"/>
                  </a:moveTo>
                  <a:lnTo>
                    <a:pt x="0" y="1442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0" name="Freeform: Shape 659">
              <a:extLst>
                <a:ext uri="{FF2B5EF4-FFF2-40B4-BE49-F238E27FC236}">
                  <a16:creationId xmlns:a16="http://schemas.microsoft.com/office/drawing/2014/main" id="{3A095833-BF5E-4A51-B3F2-EC6A05A83AA6}"/>
                </a:ext>
              </a:extLst>
            </p:cNvPr>
            <p:cNvSpPr/>
            <p:nvPr/>
          </p:nvSpPr>
          <p:spPr>
            <a:xfrm>
              <a:off x="5689222" y="5500737"/>
              <a:ext cx="66833" cy="144527"/>
            </a:xfrm>
            <a:custGeom>
              <a:avLst/>
              <a:gdLst>
                <a:gd name="connsiteX0" fmla="*/ 66834 w 66833"/>
                <a:gd name="connsiteY0" fmla="*/ 0 h 144527"/>
                <a:gd name="connsiteX1" fmla="*/ 0 w 66833"/>
                <a:gd name="connsiteY1" fmla="*/ 144528 h 1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4527">
                  <a:moveTo>
                    <a:pt x="66834" y="0"/>
                  </a:moveTo>
                  <a:lnTo>
                    <a:pt x="0" y="1445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1" name="Freeform: Shape 660">
              <a:extLst>
                <a:ext uri="{FF2B5EF4-FFF2-40B4-BE49-F238E27FC236}">
                  <a16:creationId xmlns:a16="http://schemas.microsoft.com/office/drawing/2014/main" id="{DBA91DBB-5A22-413E-8246-4FCC13DDA891}"/>
                </a:ext>
              </a:extLst>
            </p:cNvPr>
            <p:cNvSpPr/>
            <p:nvPr/>
          </p:nvSpPr>
          <p:spPr>
            <a:xfrm>
              <a:off x="3406293" y="1220871"/>
              <a:ext cx="53467" cy="144249"/>
            </a:xfrm>
            <a:custGeom>
              <a:avLst/>
              <a:gdLst>
                <a:gd name="connsiteX0" fmla="*/ 53467 w 53467"/>
                <a:gd name="connsiteY0" fmla="*/ 0 h 144249"/>
                <a:gd name="connsiteX1" fmla="*/ 0 w 53467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144249">
                  <a:moveTo>
                    <a:pt x="53467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2" name="Freeform: Shape 661">
              <a:extLst>
                <a:ext uri="{FF2B5EF4-FFF2-40B4-BE49-F238E27FC236}">
                  <a16:creationId xmlns:a16="http://schemas.microsoft.com/office/drawing/2014/main" id="{C4665210-44A4-4888-BBCF-CC13BDC623EC}"/>
                </a:ext>
              </a:extLst>
            </p:cNvPr>
            <p:cNvSpPr/>
            <p:nvPr/>
          </p:nvSpPr>
          <p:spPr>
            <a:xfrm>
              <a:off x="8651350" y="3920954"/>
              <a:ext cx="58758" cy="144249"/>
            </a:xfrm>
            <a:custGeom>
              <a:avLst/>
              <a:gdLst>
                <a:gd name="connsiteX0" fmla="*/ 58758 w 58758"/>
                <a:gd name="connsiteY0" fmla="*/ 0 h 144249"/>
                <a:gd name="connsiteX1" fmla="*/ 0 w 58758"/>
                <a:gd name="connsiteY1" fmla="*/ 144249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4249">
                  <a:moveTo>
                    <a:pt x="58758" y="0"/>
                  </a:moveTo>
                  <a:lnTo>
                    <a:pt x="0" y="1442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3" name="Freeform: Shape 662">
              <a:extLst>
                <a:ext uri="{FF2B5EF4-FFF2-40B4-BE49-F238E27FC236}">
                  <a16:creationId xmlns:a16="http://schemas.microsoft.com/office/drawing/2014/main" id="{18C06988-15A9-4057-B11B-5334DA437C66}"/>
                </a:ext>
              </a:extLst>
            </p:cNvPr>
            <p:cNvSpPr/>
            <p:nvPr/>
          </p:nvSpPr>
          <p:spPr>
            <a:xfrm>
              <a:off x="3406293" y="996142"/>
              <a:ext cx="58758" cy="144527"/>
            </a:xfrm>
            <a:custGeom>
              <a:avLst/>
              <a:gdLst>
                <a:gd name="connsiteX0" fmla="*/ 58758 w 58758"/>
                <a:gd name="connsiteY0" fmla="*/ 0 h 144527"/>
                <a:gd name="connsiteX1" fmla="*/ 0 w 58758"/>
                <a:gd name="connsiteY1" fmla="*/ 144528 h 1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4527">
                  <a:moveTo>
                    <a:pt x="58758" y="0"/>
                  </a:moveTo>
                  <a:lnTo>
                    <a:pt x="0" y="1445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4" name="Freeform: Shape 663">
              <a:extLst>
                <a:ext uri="{FF2B5EF4-FFF2-40B4-BE49-F238E27FC236}">
                  <a16:creationId xmlns:a16="http://schemas.microsoft.com/office/drawing/2014/main" id="{1C13039B-1E95-4D59-BEA8-6372BC18DE11}"/>
                </a:ext>
              </a:extLst>
            </p:cNvPr>
            <p:cNvSpPr/>
            <p:nvPr/>
          </p:nvSpPr>
          <p:spPr>
            <a:xfrm>
              <a:off x="2721804" y="1669771"/>
              <a:ext cx="45669" cy="144527"/>
            </a:xfrm>
            <a:custGeom>
              <a:avLst/>
              <a:gdLst>
                <a:gd name="connsiteX0" fmla="*/ 45670 w 45669"/>
                <a:gd name="connsiteY0" fmla="*/ 0 h 144527"/>
                <a:gd name="connsiteX1" fmla="*/ 0 w 45669"/>
                <a:gd name="connsiteY1" fmla="*/ 144528 h 1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669" h="144527">
                  <a:moveTo>
                    <a:pt x="45670" y="0"/>
                  </a:moveTo>
                  <a:lnTo>
                    <a:pt x="0" y="1445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5" name="Freeform: Shape 664">
              <a:extLst>
                <a:ext uri="{FF2B5EF4-FFF2-40B4-BE49-F238E27FC236}">
                  <a16:creationId xmlns:a16="http://schemas.microsoft.com/office/drawing/2014/main" id="{C6E2115C-758B-4A48-B03A-E6EA88CC6293}"/>
                </a:ext>
              </a:extLst>
            </p:cNvPr>
            <p:cNvSpPr/>
            <p:nvPr/>
          </p:nvSpPr>
          <p:spPr>
            <a:xfrm>
              <a:off x="3406293" y="774198"/>
              <a:ext cx="72124" cy="141743"/>
            </a:xfrm>
            <a:custGeom>
              <a:avLst/>
              <a:gdLst>
                <a:gd name="connsiteX0" fmla="*/ 72125 w 72124"/>
                <a:gd name="connsiteY0" fmla="*/ 0 h 141743"/>
                <a:gd name="connsiteX1" fmla="*/ 10582 w 72124"/>
                <a:gd name="connsiteY1" fmla="*/ 123086 h 141743"/>
                <a:gd name="connsiteX2" fmla="*/ 0 w 72124"/>
                <a:gd name="connsiteY2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124" h="141743">
                  <a:moveTo>
                    <a:pt x="72125" y="0"/>
                  </a:moveTo>
                  <a:lnTo>
                    <a:pt x="10582" y="123086"/>
                  </a:lnTo>
                  <a:lnTo>
                    <a:pt x="0" y="141743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6" name="Freeform: Shape 665">
              <a:extLst>
                <a:ext uri="{FF2B5EF4-FFF2-40B4-BE49-F238E27FC236}">
                  <a16:creationId xmlns:a16="http://schemas.microsoft.com/office/drawing/2014/main" id="{A9C67451-CE2B-424E-9C55-9837B7F69D55}"/>
                </a:ext>
              </a:extLst>
            </p:cNvPr>
            <p:cNvSpPr/>
            <p:nvPr/>
          </p:nvSpPr>
          <p:spPr>
            <a:xfrm>
              <a:off x="3403508" y="1902575"/>
              <a:ext cx="80200" cy="138958"/>
            </a:xfrm>
            <a:custGeom>
              <a:avLst/>
              <a:gdLst>
                <a:gd name="connsiteX0" fmla="*/ 80201 w 80200"/>
                <a:gd name="connsiteY0" fmla="*/ 0 h 138958"/>
                <a:gd name="connsiteX1" fmla="*/ 0 w 80200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8958">
                  <a:moveTo>
                    <a:pt x="80201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7" name="Freeform: Shape 666">
              <a:extLst>
                <a:ext uri="{FF2B5EF4-FFF2-40B4-BE49-F238E27FC236}">
                  <a16:creationId xmlns:a16="http://schemas.microsoft.com/office/drawing/2014/main" id="{8A8B02DB-06EE-441F-A755-912F29D23D16}"/>
                </a:ext>
              </a:extLst>
            </p:cNvPr>
            <p:cNvSpPr/>
            <p:nvPr/>
          </p:nvSpPr>
          <p:spPr>
            <a:xfrm>
              <a:off x="5689222" y="5276287"/>
              <a:ext cx="72403" cy="144249"/>
            </a:xfrm>
            <a:custGeom>
              <a:avLst/>
              <a:gdLst>
                <a:gd name="connsiteX0" fmla="*/ 72403 w 72403"/>
                <a:gd name="connsiteY0" fmla="*/ 0 h 144249"/>
                <a:gd name="connsiteX1" fmla="*/ 0 w 72403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403" h="144249">
                  <a:moveTo>
                    <a:pt x="72403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8" name="Freeform: Shape 667">
              <a:extLst>
                <a:ext uri="{FF2B5EF4-FFF2-40B4-BE49-F238E27FC236}">
                  <a16:creationId xmlns:a16="http://schemas.microsoft.com/office/drawing/2014/main" id="{8A523404-8338-4501-BB62-82E5890C9226}"/>
                </a:ext>
              </a:extLst>
            </p:cNvPr>
            <p:cNvSpPr/>
            <p:nvPr/>
          </p:nvSpPr>
          <p:spPr>
            <a:xfrm>
              <a:off x="4547758" y="4602659"/>
              <a:ext cx="72124" cy="144249"/>
            </a:xfrm>
            <a:custGeom>
              <a:avLst/>
              <a:gdLst>
                <a:gd name="connsiteX0" fmla="*/ 72125 w 72124"/>
                <a:gd name="connsiteY0" fmla="*/ 0 h 144249"/>
                <a:gd name="connsiteX1" fmla="*/ 0 w 72124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4249">
                  <a:moveTo>
                    <a:pt x="72125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9" name="Freeform: Shape 668">
              <a:extLst>
                <a:ext uri="{FF2B5EF4-FFF2-40B4-BE49-F238E27FC236}">
                  <a16:creationId xmlns:a16="http://schemas.microsoft.com/office/drawing/2014/main" id="{9FD76B4A-8BB0-40A5-B9CA-70C372D8EA68}"/>
                </a:ext>
              </a:extLst>
            </p:cNvPr>
            <p:cNvSpPr/>
            <p:nvPr/>
          </p:nvSpPr>
          <p:spPr>
            <a:xfrm>
              <a:off x="8651350" y="3025382"/>
              <a:ext cx="72124" cy="141464"/>
            </a:xfrm>
            <a:custGeom>
              <a:avLst/>
              <a:gdLst>
                <a:gd name="connsiteX0" fmla="*/ 72125 w 72124"/>
                <a:gd name="connsiteY0" fmla="*/ 0 h 141464"/>
                <a:gd name="connsiteX1" fmla="*/ 0 w 72124"/>
                <a:gd name="connsiteY1" fmla="*/ 141465 h 14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1464">
                  <a:moveTo>
                    <a:pt x="72125" y="0"/>
                  </a:moveTo>
                  <a:lnTo>
                    <a:pt x="0" y="14146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0" name="Freeform: Shape 669">
              <a:extLst>
                <a:ext uri="{FF2B5EF4-FFF2-40B4-BE49-F238E27FC236}">
                  <a16:creationId xmlns:a16="http://schemas.microsoft.com/office/drawing/2014/main" id="{6B77F4AB-A5A9-4A3D-8434-6EEB963806E5}"/>
                </a:ext>
              </a:extLst>
            </p:cNvPr>
            <p:cNvSpPr/>
            <p:nvPr/>
          </p:nvSpPr>
          <p:spPr>
            <a:xfrm>
              <a:off x="4318017" y="4607950"/>
              <a:ext cx="85491" cy="138958"/>
            </a:xfrm>
            <a:custGeom>
              <a:avLst/>
              <a:gdLst>
                <a:gd name="connsiteX0" fmla="*/ 85492 w 85491"/>
                <a:gd name="connsiteY0" fmla="*/ 0 h 138958"/>
                <a:gd name="connsiteX1" fmla="*/ 0 w 85491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138958">
                  <a:moveTo>
                    <a:pt x="85492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1" name="Freeform: Shape 670">
              <a:extLst>
                <a:ext uri="{FF2B5EF4-FFF2-40B4-BE49-F238E27FC236}">
                  <a16:creationId xmlns:a16="http://schemas.microsoft.com/office/drawing/2014/main" id="{F59B9F35-717B-49D6-A5B3-3E1CA3841626}"/>
                </a:ext>
              </a:extLst>
            </p:cNvPr>
            <p:cNvSpPr/>
            <p:nvPr/>
          </p:nvSpPr>
          <p:spPr>
            <a:xfrm>
              <a:off x="8424115" y="2800654"/>
              <a:ext cx="74909" cy="144527"/>
            </a:xfrm>
            <a:custGeom>
              <a:avLst/>
              <a:gdLst>
                <a:gd name="connsiteX0" fmla="*/ 74909 w 74909"/>
                <a:gd name="connsiteY0" fmla="*/ 0 h 144527"/>
                <a:gd name="connsiteX1" fmla="*/ 0 w 74909"/>
                <a:gd name="connsiteY1" fmla="*/ 144528 h 1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44527">
                  <a:moveTo>
                    <a:pt x="74909" y="0"/>
                  </a:moveTo>
                  <a:lnTo>
                    <a:pt x="0" y="1445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2" name="Freeform: Shape 671">
              <a:extLst>
                <a:ext uri="{FF2B5EF4-FFF2-40B4-BE49-F238E27FC236}">
                  <a16:creationId xmlns:a16="http://schemas.microsoft.com/office/drawing/2014/main" id="{600AFADD-A049-4804-9C77-9983941C3AD8}"/>
                </a:ext>
              </a:extLst>
            </p:cNvPr>
            <p:cNvSpPr/>
            <p:nvPr/>
          </p:nvSpPr>
          <p:spPr>
            <a:xfrm>
              <a:off x="3179058" y="552533"/>
              <a:ext cx="66833" cy="141464"/>
            </a:xfrm>
            <a:custGeom>
              <a:avLst/>
              <a:gdLst>
                <a:gd name="connsiteX0" fmla="*/ 66834 w 66833"/>
                <a:gd name="connsiteY0" fmla="*/ 0 h 141464"/>
                <a:gd name="connsiteX1" fmla="*/ 0 w 66833"/>
                <a:gd name="connsiteY1" fmla="*/ 141465 h 14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1464">
                  <a:moveTo>
                    <a:pt x="66834" y="0"/>
                  </a:moveTo>
                  <a:lnTo>
                    <a:pt x="0" y="14146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3" name="Freeform: Shape 672">
              <a:extLst>
                <a:ext uri="{FF2B5EF4-FFF2-40B4-BE49-F238E27FC236}">
                  <a16:creationId xmlns:a16="http://schemas.microsoft.com/office/drawing/2014/main" id="{10B0992E-C7EA-4D05-A56B-8BB464841F24}"/>
                </a:ext>
              </a:extLst>
            </p:cNvPr>
            <p:cNvSpPr/>
            <p:nvPr/>
          </p:nvSpPr>
          <p:spPr>
            <a:xfrm>
              <a:off x="1125870" y="552533"/>
              <a:ext cx="66833" cy="141464"/>
            </a:xfrm>
            <a:custGeom>
              <a:avLst/>
              <a:gdLst>
                <a:gd name="connsiteX0" fmla="*/ 66834 w 66833"/>
                <a:gd name="connsiteY0" fmla="*/ 0 h 141464"/>
                <a:gd name="connsiteX1" fmla="*/ 0 w 66833"/>
                <a:gd name="connsiteY1" fmla="*/ 141465 h 14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1464">
                  <a:moveTo>
                    <a:pt x="66834" y="0"/>
                  </a:moveTo>
                  <a:lnTo>
                    <a:pt x="0" y="14146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4" name="Freeform: Shape 673">
              <a:extLst>
                <a:ext uri="{FF2B5EF4-FFF2-40B4-BE49-F238E27FC236}">
                  <a16:creationId xmlns:a16="http://schemas.microsoft.com/office/drawing/2014/main" id="{C53101E0-9C7D-4599-B1F1-E959655C8859}"/>
                </a:ext>
              </a:extLst>
            </p:cNvPr>
            <p:cNvSpPr/>
            <p:nvPr/>
          </p:nvSpPr>
          <p:spPr>
            <a:xfrm>
              <a:off x="4547758" y="4824324"/>
              <a:ext cx="50960" cy="141743"/>
            </a:xfrm>
            <a:custGeom>
              <a:avLst/>
              <a:gdLst>
                <a:gd name="connsiteX0" fmla="*/ 50961 w 50960"/>
                <a:gd name="connsiteY0" fmla="*/ 0 h 141743"/>
                <a:gd name="connsiteX1" fmla="*/ 0 w 50960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60" h="141743">
                  <a:moveTo>
                    <a:pt x="50961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5" name="Freeform: Shape 674">
              <a:extLst>
                <a:ext uri="{FF2B5EF4-FFF2-40B4-BE49-F238E27FC236}">
                  <a16:creationId xmlns:a16="http://schemas.microsoft.com/office/drawing/2014/main" id="{A160580B-8547-4EB4-8021-9D625325DB70}"/>
                </a:ext>
              </a:extLst>
            </p:cNvPr>
            <p:cNvSpPr/>
            <p:nvPr/>
          </p:nvSpPr>
          <p:spPr>
            <a:xfrm>
              <a:off x="3863547" y="5054344"/>
              <a:ext cx="72124" cy="141743"/>
            </a:xfrm>
            <a:custGeom>
              <a:avLst/>
              <a:gdLst>
                <a:gd name="connsiteX0" fmla="*/ 72125 w 72124"/>
                <a:gd name="connsiteY0" fmla="*/ 0 h 141743"/>
                <a:gd name="connsiteX1" fmla="*/ 0 w 72124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1743">
                  <a:moveTo>
                    <a:pt x="72125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6" name="Freeform: Shape 675">
              <a:extLst>
                <a:ext uri="{FF2B5EF4-FFF2-40B4-BE49-F238E27FC236}">
                  <a16:creationId xmlns:a16="http://schemas.microsoft.com/office/drawing/2014/main" id="{866A5AF2-5D6B-4FA5-875B-866BE7EA4542}"/>
                </a:ext>
              </a:extLst>
            </p:cNvPr>
            <p:cNvSpPr/>
            <p:nvPr/>
          </p:nvSpPr>
          <p:spPr>
            <a:xfrm>
              <a:off x="7279866" y="3704302"/>
              <a:ext cx="77694" cy="138958"/>
            </a:xfrm>
            <a:custGeom>
              <a:avLst/>
              <a:gdLst>
                <a:gd name="connsiteX0" fmla="*/ 77695 w 77694"/>
                <a:gd name="connsiteY0" fmla="*/ 0 h 138958"/>
                <a:gd name="connsiteX1" fmla="*/ 0 w 77694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8958">
                  <a:moveTo>
                    <a:pt x="77695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7" name="Freeform: Shape 676">
              <a:extLst>
                <a:ext uri="{FF2B5EF4-FFF2-40B4-BE49-F238E27FC236}">
                  <a16:creationId xmlns:a16="http://schemas.microsoft.com/office/drawing/2014/main" id="{6F0DBB13-4681-41FC-9D67-F39BFEF5B253}"/>
                </a:ext>
              </a:extLst>
            </p:cNvPr>
            <p:cNvSpPr/>
            <p:nvPr/>
          </p:nvSpPr>
          <p:spPr>
            <a:xfrm>
              <a:off x="3636312" y="998927"/>
              <a:ext cx="69340" cy="141743"/>
            </a:xfrm>
            <a:custGeom>
              <a:avLst/>
              <a:gdLst>
                <a:gd name="connsiteX0" fmla="*/ 69340 w 69340"/>
                <a:gd name="connsiteY0" fmla="*/ 0 h 141743"/>
                <a:gd name="connsiteX1" fmla="*/ 0 w 69340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41743">
                  <a:moveTo>
                    <a:pt x="69340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8" name="Freeform: Shape 677">
              <a:extLst>
                <a:ext uri="{FF2B5EF4-FFF2-40B4-BE49-F238E27FC236}">
                  <a16:creationId xmlns:a16="http://schemas.microsoft.com/office/drawing/2014/main" id="{E41082C0-1C40-49DF-976D-1A99170D4215}"/>
                </a:ext>
              </a:extLst>
            </p:cNvPr>
            <p:cNvSpPr/>
            <p:nvPr/>
          </p:nvSpPr>
          <p:spPr>
            <a:xfrm>
              <a:off x="2951823" y="1897006"/>
              <a:ext cx="66833" cy="141743"/>
            </a:xfrm>
            <a:custGeom>
              <a:avLst/>
              <a:gdLst>
                <a:gd name="connsiteX0" fmla="*/ 66834 w 66833"/>
                <a:gd name="connsiteY0" fmla="*/ 0 h 141743"/>
                <a:gd name="connsiteX1" fmla="*/ 0 w 66833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1743">
                  <a:moveTo>
                    <a:pt x="66834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9" name="Freeform: Shape 678">
              <a:extLst>
                <a:ext uri="{FF2B5EF4-FFF2-40B4-BE49-F238E27FC236}">
                  <a16:creationId xmlns:a16="http://schemas.microsoft.com/office/drawing/2014/main" id="{51FB3172-3308-4D3D-BADE-FEF86321B54A}"/>
                </a:ext>
              </a:extLst>
            </p:cNvPr>
            <p:cNvSpPr/>
            <p:nvPr/>
          </p:nvSpPr>
          <p:spPr>
            <a:xfrm>
              <a:off x="2494569" y="1905081"/>
              <a:ext cx="66833" cy="141743"/>
            </a:xfrm>
            <a:custGeom>
              <a:avLst/>
              <a:gdLst>
                <a:gd name="connsiteX0" fmla="*/ 66834 w 66833"/>
                <a:gd name="connsiteY0" fmla="*/ 0 h 141743"/>
                <a:gd name="connsiteX1" fmla="*/ 0 w 66833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1743">
                  <a:moveTo>
                    <a:pt x="66834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0" name="Freeform: Shape 679">
              <a:extLst>
                <a:ext uri="{FF2B5EF4-FFF2-40B4-BE49-F238E27FC236}">
                  <a16:creationId xmlns:a16="http://schemas.microsoft.com/office/drawing/2014/main" id="{A9BA577B-FACC-4B99-9C1C-38D241D94349}"/>
                </a:ext>
              </a:extLst>
            </p:cNvPr>
            <p:cNvSpPr/>
            <p:nvPr/>
          </p:nvSpPr>
          <p:spPr>
            <a:xfrm>
              <a:off x="7969646" y="2800654"/>
              <a:ext cx="69618" cy="138958"/>
            </a:xfrm>
            <a:custGeom>
              <a:avLst/>
              <a:gdLst>
                <a:gd name="connsiteX0" fmla="*/ 69618 w 69618"/>
                <a:gd name="connsiteY0" fmla="*/ 0 h 138958"/>
                <a:gd name="connsiteX1" fmla="*/ 0 w 69618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138958">
                  <a:moveTo>
                    <a:pt x="69618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1" name="Freeform: Shape 680">
              <a:extLst>
                <a:ext uri="{FF2B5EF4-FFF2-40B4-BE49-F238E27FC236}">
                  <a16:creationId xmlns:a16="http://schemas.microsoft.com/office/drawing/2014/main" id="{3ABA7140-2F90-4427-A80C-D132776FAD6E}"/>
                </a:ext>
              </a:extLst>
            </p:cNvPr>
            <p:cNvSpPr/>
            <p:nvPr/>
          </p:nvSpPr>
          <p:spPr>
            <a:xfrm>
              <a:off x="8651350" y="3239250"/>
              <a:ext cx="50960" cy="152325"/>
            </a:xfrm>
            <a:custGeom>
              <a:avLst/>
              <a:gdLst>
                <a:gd name="connsiteX0" fmla="*/ 50961 w 50960"/>
                <a:gd name="connsiteY0" fmla="*/ 0 h 152325"/>
                <a:gd name="connsiteX1" fmla="*/ 0 w 50960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60" h="152325">
                  <a:moveTo>
                    <a:pt x="50961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2" name="Freeform: Shape 681">
              <a:extLst>
                <a:ext uri="{FF2B5EF4-FFF2-40B4-BE49-F238E27FC236}">
                  <a16:creationId xmlns:a16="http://schemas.microsoft.com/office/drawing/2014/main" id="{8283B1B6-4441-4FF2-AE7E-5A7D96910E07}"/>
                </a:ext>
              </a:extLst>
            </p:cNvPr>
            <p:cNvSpPr/>
            <p:nvPr/>
          </p:nvSpPr>
          <p:spPr>
            <a:xfrm>
              <a:off x="1125870" y="776983"/>
              <a:ext cx="64327" cy="141743"/>
            </a:xfrm>
            <a:custGeom>
              <a:avLst/>
              <a:gdLst>
                <a:gd name="connsiteX0" fmla="*/ 64327 w 64327"/>
                <a:gd name="connsiteY0" fmla="*/ 0 h 141743"/>
                <a:gd name="connsiteX1" fmla="*/ 0 w 64327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327" h="141743">
                  <a:moveTo>
                    <a:pt x="64327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3" name="Freeform: Shape 682">
              <a:extLst>
                <a:ext uri="{FF2B5EF4-FFF2-40B4-BE49-F238E27FC236}">
                  <a16:creationId xmlns:a16="http://schemas.microsoft.com/office/drawing/2014/main" id="{AB754041-6D84-44B2-A448-DB5F4CEE6A31}"/>
                </a:ext>
              </a:extLst>
            </p:cNvPr>
            <p:cNvSpPr/>
            <p:nvPr/>
          </p:nvSpPr>
          <p:spPr>
            <a:xfrm>
              <a:off x="7742411" y="4150696"/>
              <a:ext cx="58758" cy="141743"/>
            </a:xfrm>
            <a:custGeom>
              <a:avLst/>
              <a:gdLst>
                <a:gd name="connsiteX0" fmla="*/ 58758 w 58758"/>
                <a:gd name="connsiteY0" fmla="*/ 0 h 141743"/>
                <a:gd name="connsiteX1" fmla="*/ 0 w 58758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1743">
                  <a:moveTo>
                    <a:pt x="58758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4" name="Freeform: Shape 683">
              <a:extLst>
                <a:ext uri="{FF2B5EF4-FFF2-40B4-BE49-F238E27FC236}">
                  <a16:creationId xmlns:a16="http://schemas.microsoft.com/office/drawing/2014/main" id="{7610CED6-8F56-47A8-892B-7227274F28FF}"/>
                </a:ext>
              </a:extLst>
            </p:cNvPr>
            <p:cNvSpPr/>
            <p:nvPr/>
          </p:nvSpPr>
          <p:spPr>
            <a:xfrm>
              <a:off x="8426900" y="4150696"/>
              <a:ext cx="53467" cy="141743"/>
            </a:xfrm>
            <a:custGeom>
              <a:avLst/>
              <a:gdLst>
                <a:gd name="connsiteX0" fmla="*/ 53467 w 53467"/>
                <a:gd name="connsiteY0" fmla="*/ 0 h 141743"/>
                <a:gd name="connsiteX1" fmla="*/ 0 w 53467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141743">
                  <a:moveTo>
                    <a:pt x="53467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6" name="Freeform: Shape 685">
              <a:extLst>
                <a:ext uri="{FF2B5EF4-FFF2-40B4-BE49-F238E27FC236}">
                  <a16:creationId xmlns:a16="http://schemas.microsoft.com/office/drawing/2014/main" id="{6B9EC25A-16F3-45C0-A52A-9BD4B359595E}"/>
                </a:ext>
              </a:extLst>
            </p:cNvPr>
            <p:cNvSpPr/>
            <p:nvPr/>
          </p:nvSpPr>
          <p:spPr>
            <a:xfrm>
              <a:off x="8881369" y="3699011"/>
              <a:ext cx="72124" cy="141743"/>
            </a:xfrm>
            <a:custGeom>
              <a:avLst/>
              <a:gdLst>
                <a:gd name="connsiteX0" fmla="*/ 72125 w 72124"/>
                <a:gd name="connsiteY0" fmla="*/ 0 h 141743"/>
                <a:gd name="connsiteX1" fmla="*/ 0 w 72124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1743">
                  <a:moveTo>
                    <a:pt x="72125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7" name="Freeform: Shape 686">
              <a:extLst>
                <a:ext uri="{FF2B5EF4-FFF2-40B4-BE49-F238E27FC236}">
                  <a16:creationId xmlns:a16="http://schemas.microsoft.com/office/drawing/2014/main" id="{AF211548-A4FE-4393-A5BD-7BDFBF4AFD67}"/>
                </a:ext>
              </a:extLst>
            </p:cNvPr>
            <p:cNvSpPr/>
            <p:nvPr/>
          </p:nvSpPr>
          <p:spPr>
            <a:xfrm>
              <a:off x="4090782" y="4827109"/>
              <a:ext cx="69340" cy="138958"/>
            </a:xfrm>
            <a:custGeom>
              <a:avLst/>
              <a:gdLst>
                <a:gd name="connsiteX0" fmla="*/ 69340 w 69340"/>
                <a:gd name="connsiteY0" fmla="*/ 0 h 138958"/>
                <a:gd name="connsiteX1" fmla="*/ 0 w 69340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38958">
                  <a:moveTo>
                    <a:pt x="69340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8" name="Freeform: Shape 687">
              <a:extLst>
                <a:ext uri="{FF2B5EF4-FFF2-40B4-BE49-F238E27FC236}">
                  <a16:creationId xmlns:a16="http://schemas.microsoft.com/office/drawing/2014/main" id="{E46F8609-7EB6-4DB7-8F47-B954136E3BF9}"/>
                </a:ext>
              </a:extLst>
            </p:cNvPr>
            <p:cNvSpPr/>
            <p:nvPr/>
          </p:nvSpPr>
          <p:spPr>
            <a:xfrm>
              <a:off x="1353104" y="1226162"/>
              <a:ext cx="61542" cy="138958"/>
            </a:xfrm>
            <a:custGeom>
              <a:avLst/>
              <a:gdLst>
                <a:gd name="connsiteX0" fmla="*/ 61543 w 61542"/>
                <a:gd name="connsiteY0" fmla="*/ 0 h 138958"/>
                <a:gd name="connsiteX1" fmla="*/ 0 w 61542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138958">
                  <a:moveTo>
                    <a:pt x="61543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9" name="Freeform: Shape 688">
              <a:extLst>
                <a:ext uri="{FF2B5EF4-FFF2-40B4-BE49-F238E27FC236}">
                  <a16:creationId xmlns:a16="http://schemas.microsoft.com/office/drawing/2014/main" id="{BFF3262C-59C3-4C9A-8250-11BB15B02EB5}"/>
                </a:ext>
              </a:extLst>
            </p:cNvPr>
            <p:cNvSpPr/>
            <p:nvPr/>
          </p:nvSpPr>
          <p:spPr>
            <a:xfrm>
              <a:off x="3636312" y="1226162"/>
              <a:ext cx="64049" cy="138958"/>
            </a:xfrm>
            <a:custGeom>
              <a:avLst/>
              <a:gdLst>
                <a:gd name="connsiteX0" fmla="*/ 64049 w 64049"/>
                <a:gd name="connsiteY0" fmla="*/ 0 h 138958"/>
                <a:gd name="connsiteX1" fmla="*/ 0 w 64049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49" h="138958">
                  <a:moveTo>
                    <a:pt x="64049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0" name="Freeform: Shape 689">
              <a:extLst>
                <a:ext uri="{FF2B5EF4-FFF2-40B4-BE49-F238E27FC236}">
                  <a16:creationId xmlns:a16="http://schemas.microsoft.com/office/drawing/2014/main" id="{6E29F866-9C53-40E3-B33F-6803BE99037C}"/>
                </a:ext>
              </a:extLst>
            </p:cNvPr>
            <p:cNvSpPr/>
            <p:nvPr/>
          </p:nvSpPr>
          <p:spPr>
            <a:xfrm>
              <a:off x="1128654" y="1004218"/>
              <a:ext cx="69340" cy="138958"/>
            </a:xfrm>
            <a:custGeom>
              <a:avLst/>
              <a:gdLst>
                <a:gd name="connsiteX0" fmla="*/ 69340 w 69340"/>
                <a:gd name="connsiteY0" fmla="*/ 0 h 138958"/>
                <a:gd name="connsiteX1" fmla="*/ 0 w 69340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38958">
                  <a:moveTo>
                    <a:pt x="69340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1" name="Freeform: Shape 690">
              <a:extLst>
                <a:ext uri="{FF2B5EF4-FFF2-40B4-BE49-F238E27FC236}">
                  <a16:creationId xmlns:a16="http://schemas.microsoft.com/office/drawing/2014/main" id="{9967D104-16F7-4C87-A9C8-9B504C317FC5}"/>
                </a:ext>
              </a:extLst>
            </p:cNvPr>
            <p:cNvSpPr/>
            <p:nvPr/>
          </p:nvSpPr>
          <p:spPr>
            <a:xfrm>
              <a:off x="3866053" y="1453397"/>
              <a:ext cx="72124" cy="138958"/>
            </a:xfrm>
            <a:custGeom>
              <a:avLst/>
              <a:gdLst>
                <a:gd name="connsiteX0" fmla="*/ 72125 w 72124"/>
                <a:gd name="connsiteY0" fmla="*/ 0 h 138958"/>
                <a:gd name="connsiteX1" fmla="*/ 0 w 72124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38958">
                  <a:moveTo>
                    <a:pt x="72125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2" name="Freeform: Shape 691">
              <a:extLst>
                <a:ext uri="{FF2B5EF4-FFF2-40B4-BE49-F238E27FC236}">
                  <a16:creationId xmlns:a16="http://schemas.microsoft.com/office/drawing/2014/main" id="{9C34106B-7084-4BAE-8F9A-9FEBEE0AF3AC}"/>
                </a:ext>
              </a:extLst>
            </p:cNvPr>
            <p:cNvSpPr/>
            <p:nvPr/>
          </p:nvSpPr>
          <p:spPr>
            <a:xfrm>
              <a:off x="1350598" y="1458688"/>
              <a:ext cx="90782" cy="133667"/>
            </a:xfrm>
            <a:custGeom>
              <a:avLst/>
              <a:gdLst>
                <a:gd name="connsiteX0" fmla="*/ 90782 w 90782"/>
                <a:gd name="connsiteY0" fmla="*/ 0 h 133667"/>
                <a:gd name="connsiteX1" fmla="*/ 0 w 90782"/>
                <a:gd name="connsiteY1" fmla="*/ 133667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133667">
                  <a:moveTo>
                    <a:pt x="90782" y="0"/>
                  </a:moveTo>
                  <a:lnTo>
                    <a:pt x="0" y="1336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3" name="Freeform: Shape 692">
              <a:extLst>
                <a:ext uri="{FF2B5EF4-FFF2-40B4-BE49-F238E27FC236}">
                  <a16:creationId xmlns:a16="http://schemas.microsoft.com/office/drawing/2014/main" id="{862DC45F-0837-46AA-B31A-93CC1E94946E}"/>
                </a:ext>
              </a:extLst>
            </p:cNvPr>
            <p:cNvSpPr/>
            <p:nvPr/>
          </p:nvSpPr>
          <p:spPr>
            <a:xfrm>
              <a:off x="3406293" y="1675340"/>
              <a:ext cx="61542" cy="138958"/>
            </a:xfrm>
            <a:custGeom>
              <a:avLst/>
              <a:gdLst>
                <a:gd name="connsiteX0" fmla="*/ 61543 w 61542"/>
                <a:gd name="connsiteY0" fmla="*/ 0 h 138958"/>
                <a:gd name="connsiteX1" fmla="*/ 0 w 61542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138958">
                  <a:moveTo>
                    <a:pt x="61543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4" name="Freeform: Shape 693">
              <a:extLst>
                <a:ext uri="{FF2B5EF4-FFF2-40B4-BE49-F238E27FC236}">
                  <a16:creationId xmlns:a16="http://schemas.microsoft.com/office/drawing/2014/main" id="{686F8940-6EC9-422D-94BE-6FC9EDB23F74}"/>
                </a:ext>
              </a:extLst>
            </p:cNvPr>
            <p:cNvSpPr/>
            <p:nvPr/>
          </p:nvSpPr>
          <p:spPr>
            <a:xfrm>
              <a:off x="5232247" y="4607950"/>
              <a:ext cx="85491" cy="138958"/>
            </a:xfrm>
            <a:custGeom>
              <a:avLst/>
              <a:gdLst>
                <a:gd name="connsiteX0" fmla="*/ 85491 w 85491"/>
                <a:gd name="connsiteY0" fmla="*/ 0 h 138958"/>
                <a:gd name="connsiteX1" fmla="*/ 0 w 85491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138958">
                  <a:moveTo>
                    <a:pt x="85491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5" name="Freeform: Shape 694">
              <a:extLst>
                <a:ext uri="{FF2B5EF4-FFF2-40B4-BE49-F238E27FC236}">
                  <a16:creationId xmlns:a16="http://schemas.microsoft.com/office/drawing/2014/main" id="{A3241843-0DC1-43C7-9886-D93BCDD5E498}"/>
                </a:ext>
              </a:extLst>
            </p:cNvPr>
            <p:cNvSpPr/>
            <p:nvPr/>
          </p:nvSpPr>
          <p:spPr>
            <a:xfrm>
              <a:off x="7512670" y="3027888"/>
              <a:ext cx="69340" cy="138958"/>
            </a:xfrm>
            <a:custGeom>
              <a:avLst/>
              <a:gdLst>
                <a:gd name="connsiteX0" fmla="*/ 69340 w 69340"/>
                <a:gd name="connsiteY0" fmla="*/ 0 h 138958"/>
                <a:gd name="connsiteX1" fmla="*/ 0 w 69340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38958">
                  <a:moveTo>
                    <a:pt x="69340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6" name="Freeform: Shape 695">
              <a:extLst>
                <a:ext uri="{FF2B5EF4-FFF2-40B4-BE49-F238E27FC236}">
                  <a16:creationId xmlns:a16="http://schemas.microsoft.com/office/drawing/2014/main" id="{7C9525CD-A6EB-434C-8B4E-D688CDBD7F16}"/>
                </a:ext>
              </a:extLst>
            </p:cNvPr>
            <p:cNvSpPr/>
            <p:nvPr/>
          </p:nvSpPr>
          <p:spPr>
            <a:xfrm>
              <a:off x="7285435" y="3255123"/>
              <a:ext cx="80200" cy="138958"/>
            </a:xfrm>
            <a:custGeom>
              <a:avLst/>
              <a:gdLst>
                <a:gd name="connsiteX0" fmla="*/ 80201 w 80200"/>
                <a:gd name="connsiteY0" fmla="*/ 0 h 138958"/>
                <a:gd name="connsiteX1" fmla="*/ 0 w 80200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8958">
                  <a:moveTo>
                    <a:pt x="80201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7" name="Freeform: Shape 696">
              <a:extLst>
                <a:ext uri="{FF2B5EF4-FFF2-40B4-BE49-F238E27FC236}">
                  <a16:creationId xmlns:a16="http://schemas.microsoft.com/office/drawing/2014/main" id="{352FFEA0-52B3-4197-BFAF-C9673162A860}"/>
                </a:ext>
              </a:extLst>
            </p:cNvPr>
            <p:cNvSpPr/>
            <p:nvPr/>
          </p:nvSpPr>
          <p:spPr>
            <a:xfrm>
              <a:off x="8648844" y="4155987"/>
              <a:ext cx="77415" cy="136452"/>
            </a:xfrm>
            <a:custGeom>
              <a:avLst/>
              <a:gdLst>
                <a:gd name="connsiteX0" fmla="*/ 77416 w 77415"/>
                <a:gd name="connsiteY0" fmla="*/ 0 h 136452"/>
                <a:gd name="connsiteX1" fmla="*/ 0 w 77415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36452">
                  <a:moveTo>
                    <a:pt x="77416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8" name="Freeform: Shape 697">
              <a:extLst>
                <a:ext uri="{FF2B5EF4-FFF2-40B4-BE49-F238E27FC236}">
                  <a16:creationId xmlns:a16="http://schemas.microsoft.com/office/drawing/2014/main" id="{EC2EFC2A-8238-464B-99B5-837CC1664EB8}"/>
                </a:ext>
              </a:extLst>
            </p:cNvPr>
            <p:cNvSpPr/>
            <p:nvPr/>
          </p:nvSpPr>
          <p:spPr>
            <a:xfrm>
              <a:off x="8881369" y="3477067"/>
              <a:ext cx="69340" cy="138958"/>
            </a:xfrm>
            <a:custGeom>
              <a:avLst/>
              <a:gdLst>
                <a:gd name="connsiteX0" fmla="*/ 69340 w 69340"/>
                <a:gd name="connsiteY0" fmla="*/ 0 h 138958"/>
                <a:gd name="connsiteX1" fmla="*/ 0 w 69340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38958">
                  <a:moveTo>
                    <a:pt x="69340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9" name="Freeform: Shape 698">
              <a:extLst>
                <a:ext uri="{FF2B5EF4-FFF2-40B4-BE49-F238E27FC236}">
                  <a16:creationId xmlns:a16="http://schemas.microsoft.com/office/drawing/2014/main" id="{9839EC9D-E281-4E97-8F30-B6714954CCA4}"/>
                </a:ext>
              </a:extLst>
            </p:cNvPr>
            <p:cNvSpPr/>
            <p:nvPr/>
          </p:nvSpPr>
          <p:spPr>
            <a:xfrm>
              <a:off x="7279866" y="3482358"/>
              <a:ext cx="77694" cy="136452"/>
            </a:xfrm>
            <a:custGeom>
              <a:avLst/>
              <a:gdLst>
                <a:gd name="connsiteX0" fmla="*/ 77695 w 77694"/>
                <a:gd name="connsiteY0" fmla="*/ 0 h 136452"/>
                <a:gd name="connsiteX1" fmla="*/ 0 w 77694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6452">
                  <a:moveTo>
                    <a:pt x="77695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0" name="Freeform: Shape 699">
              <a:extLst>
                <a:ext uri="{FF2B5EF4-FFF2-40B4-BE49-F238E27FC236}">
                  <a16:creationId xmlns:a16="http://schemas.microsoft.com/office/drawing/2014/main" id="{68BB7770-84AD-46CC-91C0-96C207E0036B}"/>
                </a:ext>
              </a:extLst>
            </p:cNvPr>
            <p:cNvSpPr/>
            <p:nvPr/>
          </p:nvSpPr>
          <p:spPr>
            <a:xfrm>
              <a:off x="3636312" y="5506028"/>
              <a:ext cx="77415" cy="136452"/>
            </a:xfrm>
            <a:custGeom>
              <a:avLst/>
              <a:gdLst>
                <a:gd name="connsiteX0" fmla="*/ 77416 w 77415"/>
                <a:gd name="connsiteY0" fmla="*/ 0 h 136452"/>
                <a:gd name="connsiteX1" fmla="*/ 0 w 77415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36452">
                  <a:moveTo>
                    <a:pt x="77416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1" name="Freeform: Shape 700">
              <a:extLst>
                <a:ext uri="{FF2B5EF4-FFF2-40B4-BE49-F238E27FC236}">
                  <a16:creationId xmlns:a16="http://schemas.microsoft.com/office/drawing/2014/main" id="{11A60CDB-D814-4C5F-BFD6-3415B2127AA9}"/>
                </a:ext>
              </a:extLst>
            </p:cNvPr>
            <p:cNvSpPr/>
            <p:nvPr/>
          </p:nvSpPr>
          <p:spPr>
            <a:xfrm>
              <a:off x="1125870" y="330589"/>
              <a:ext cx="77694" cy="138958"/>
            </a:xfrm>
            <a:custGeom>
              <a:avLst/>
              <a:gdLst>
                <a:gd name="connsiteX0" fmla="*/ 77694 w 77694"/>
                <a:gd name="connsiteY0" fmla="*/ 0 h 138958"/>
                <a:gd name="connsiteX1" fmla="*/ 0 w 77694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8958">
                  <a:moveTo>
                    <a:pt x="77694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2" name="Freeform: Shape 701">
              <a:extLst>
                <a:ext uri="{FF2B5EF4-FFF2-40B4-BE49-F238E27FC236}">
                  <a16:creationId xmlns:a16="http://schemas.microsoft.com/office/drawing/2014/main" id="{DCDCD74B-BC92-44E1-B0A2-283DB66AFCC5}"/>
                </a:ext>
              </a:extLst>
            </p:cNvPr>
            <p:cNvSpPr/>
            <p:nvPr/>
          </p:nvSpPr>
          <p:spPr>
            <a:xfrm>
              <a:off x="3636312" y="1450612"/>
              <a:ext cx="64049" cy="138958"/>
            </a:xfrm>
            <a:custGeom>
              <a:avLst/>
              <a:gdLst>
                <a:gd name="connsiteX0" fmla="*/ 64049 w 64049"/>
                <a:gd name="connsiteY0" fmla="*/ 0 h 138958"/>
                <a:gd name="connsiteX1" fmla="*/ 0 w 64049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49" h="138958">
                  <a:moveTo>
                    <a:pt x="64049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3" name="Freeform: Shape 702">
              <a:extLst>
                <a:ext uri="{FF2B5EF4-FFF2-40B4-BE49-F238E27FC236}">
                  <a16:creationId xmlns:a16="http://schemas.microsoft.com/office/drawing/2014/main" id="{1283D93A-CF52-4326-87CF-2859E6143F81}"/>
                </a:ext>
              </a:extLst>
            </p:cNvPr>
            <p:cNvSpPr/>
            <p:nvPr/>
          </p:nvSpPr>
          <p:spPr>
            <a:xfrm>
              <a:off x="7742411" y="2808729"/>
              <a:ext cx="69618" cy="136452"/>
            </a:xfrm>
            <a:custGeom>
              <a:avLst/>
              <a:gdLst>
                <a:gd name="connsiteX0" fmla="*/ 69619 w 69618"/>
                <a:gd name="connsiteY0" fmla="*/ 0 h 136452"/>
                <a:gd name="connsiteX1" fmla="*/ 0 w 69618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136452">
                  <a:moveTo>
                    <a:pt x="69619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4" name="Freeform: Shape 703">
              <a:extLst>
                <a:ext uri="{FF2B5EF4-FFF2-40B4-BE49-F238E27FC236}">
                  <a16:creationId xmlns:a16="http://schemas.microsoft.com/office/drawing/2014/main" id="{9E636796-60CE-4FE8-B0D9-33D9C7658CDB}"/>
                </a:ext>
              </a:extLst>
            </p:cNvPr>
            <p:cNvSpPr/>
            <p:nvPr/>
          </p:nvSpPr>
          <p:spPr>
            <a:xfrm>
              <a:off x="3866053" y="1231453"/>
              <a:ext cx="74909" cy="136452"/>
            </a:xfrm>
            <a:custGeom>
              <a:avLst/>
              <a:gdLst>
                <a:gd name="connsiteX0" fmla="*/ 74909 w 74909"/>
                <a:gd name="connsiteY0" fmla="*/ 0 h 136452"/>
                <a:gd name="connsiteX1" fmla="*/ 0 w 74909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6452">
                  <a:moveTo>
                    <a:pt x="74909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5" name="Freeform: Shape 704">
              <a:extLst>
                <a:ext uri="{FF2B5EF4-FFF2-40B4-BE49-F238E27FC236}">
                  <a16:creationId xmlns:a16="http://schemas.microsoft.com/office/drawing/2014/main" id="{FA333119-BE56-49F4-9288-4CEEB2B2612E}"/>
                </a:ext>
              </a:extLst>
            </p:cNvPr>
            <p:cNvSpPr/>
            <p:nvPr/>
          </p:nvSpPr>
          <p:spPr>
            <a:xfrm>
              <a:off x="5002227" y="4610456"/>
              <a:ext cx="77694" cy="136452"/>
            </a:xfrm>
            <a:custGeom>
              <a:avLst/>
              <a:gdLst>
                <a:gd name="connsiteX0" fmla="*/ 77694 w 77694"/>
                <a:gd name="connsiteY0" fmla="*/ 0 h 136452"/>
                <a:gd name="connsiteX1" fmla="*/ 0 w 77694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6452">
                  <a:moveTo>
                    <a:pt x="77694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6" name="Freeform: Shape 705">
              <a:extLst>
                <a:ext uri="{FF2B5EF4-FFF2-40B4-BE49-F238E27FC236}">
                  <a16:creationId xmlns:a16="http://schemas.microsoft.com/office/drawing/2014/main" id="{7E7DEA70-9219-4880-8C45-C1737F39C284}"/>
                </a:ext>
              </a:extLst>
            </p:cNvPr>
            <p:cNvSpPr/>
            <p:nvPr/>
          </p:nvSpPr>
          <p:spPr>
            <a:xfrm>
              <a:off x="4774992" y="4605165"/>
              <a:ext cx="74909" cy="136452"/>
            </a:xfrm>
            <a:custGeom>
              <a:avLst/>
              <a:gdLst>
                <a:gd name="connsiteX0" fmla="*/ 74909 w 74909"/>
                <a:gd name="connsiteY0" fmla="*/ 0 h 136452"/>
                <a:gd name="connsiteX1" fmla="*/ 0 w 74909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6452">
                  <a:moveTo>
                    <a:pt x="74909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7" name="Freeform: Shape 706">
              <a:extLst>
                <a:ext uri="{FF2B5EF4-FFF2-40B4-BE49-F238E27FC236}">
                  <a16:creationId xmlns:a16="http://schemas.microsoft.com/office/drawing/2014/main" id="{80F42661-ECD0-4039-AA3C-C1BEAA27C02F}"/>
                </a:ext>
              </a:extLst>
            </p:cNvPr>
            <p:cNvSpPr/>
            <p:nvPr/>
          </p:nvSpPr>
          <p:spPr>
            <a:xfrm>
              <a:off x="8196880" y="4377930"/>
              <a:ext cx="74909" cy="136452"/>
            </a:xfrm>
            <a:custGeom>
              <a:avLst/>
              <a:gdLst>
                <a:gd name="connsiteX0" fmla="*/ 74909 w 74909"/>
                <a:gd name="connsiteY0" fmla="*/ 0 h 136452"/>
                <a:gd name="connsiteX1" fmla="*/ 0 w 74909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6452">
                  <a:moveTo>
                    <a:pt x="74909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8" name="Freeform: Shape 707">
              <a:extLst>
                <a:ext uri="{FF2B5EF4-FFF2-40B4-BE49-F238E27FC236}">
                  <a16:creationId xmlns:a16="http://schemas.microsoft.com/office/drawing/2014/main" id="{B9950BCC-D820-41F3-B13F-BC5EDE777763}"/>
                </a:ext>
              </a:extLst>
            </p:cNvPr>
            <p:cNvSpPr/>
            <p:nvPr/>
          </p:nvSpPr>
          <p:spPr>
            <a:xfrm>
              <a:off x="8424115" y="4386006"/>
              <a:ext cx="82985" cy="136452"/>
            </a:xfrm>
            <a:custGeom>
              <a:avLst/>
              <a:gdLst>
                <a:gd name="connsiteX0" fmla="*/ 82985 w 82985"/>
                <a:gd name="connsiteY0" fmla="*/ 0 h 136452"/>
                <a:gd name="connsiteX1" fmla="*/ 0 w 82985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36452">
                  <a:moveTo>
                    <a:pt x="82985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9" name="Freeform: Shape 708">
              <a:extLst>
                <a:ext uri="{FF2B5EF4-FFF2-40B4-BE49-F238E27FC236}">
                  <a16:creationId xmlns:a16="http://schemas.microsoft.com/office/drawing/2014/main" id="{C75B9C9C-5224-4C82-A6AA-7733FBD9D338}"/>
                </a:ext>
              </a:extLst>
            </p:cNvPr>
            <p:cNvSpPr/>
            <p:nvPr/>
          </p:nvSpPr>
          <p:spPr>
            <a:xfrm>
              <a:off x="1812865" y="1680631"/>
              <a:ext cx="69618" cy="136173"/>
            </a:xfrm>
            <a:custGeom>
              <a:avLst/>
              <a:gdLst>
                <a:gd name="connsiteX0" fmla="*/ 69618 w 69618"/>
                <a:gd name="connsiteY0" fmla="*/ 0 h 136173"/>
                <a:gd name="connsiteX1" fmla="*/ 0 w 69618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136173">
                  <a:moveTo>
                    <a:pt x="69618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0" name="Freeform: Shape 709">
              <a:extLst>
                <a:ext uri="{FF2B5EF4-FFF2-40B4-BE49-F238E27FC236}">
                  <a16:creationId xmlns:a16="http://schemas.microsoft.com/office/drawing/2014/main" id="{F3D0F11F-C685-4F20-B3D0-F0D15558262E}"/>
                </a:ext>
              </a:extLst>
            </p:cNvPr>
            <p:cNvSpPr/>
            <p:nvPr/>
          </p:nvSpPr>
          <p:spPr>
            <a:xfrm>
              <a:off x="3866053" y="1680631"/>
              <a:ext cx="74909" cy="136173"/>
            </a:xfrm>
            <a:custGeom>
              <a:avLst/>
              <a:gdLst>
                <a:gd name="connsiteX0" fmla="*/ 74909 w 74909"/>
                <a:gd name="connsiteY0" fmla="*/ 0 h 136173"/>
                <a:gd name="connsiteX1" fmla="*/ 0 w 74909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6173">
                  <a:moveTo>
                    <a:pt x="74909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1" name="Freeform: Shape 710">
              <a:extLst>
                <a:ext uri="{FF2B5EF4-FFF2-40B4-BE49-F238E27FC236}">
                  <a16:creationId xmlns:a16="http://schemas.microsoft.com/office/drawing/2014/main" id="{5DE502BD-4CE7-4F73-A1C8-4F66529C8D27}"/>
                </a:ext>
              </a:extLst>
            </p:cNvPr>
            <p:cNvSpPr/>
            <p:nvPr/>
          </p:nvSpPr>
          <p:spPr>
            <a:xfrm>
              <a:off x="5232247" y="4829894"/>
              <a:ext cx="64049" cy="136173"/>
            </a:xfrm>
            <a:custGeom>
              <a:avLst/>
              <a:gdLst>
                <a:gd name="connsiteX0" fmla="*/ 64049 w 64049"/>
                <a:gd name="connsiteY0" fmla="*/ 0 h 136173"/>
                <a:gd name="connsiteX1" fmla="*/ 0 w 64049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49" h="136173">
                  <a:moveTo>
                    <a:pt x="64049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2" name="Freeform: Shape 711">
              <a:extLst>
                <a:ext uri="{FF2B5EF4-FFF2-40B4-BE49-F238E27FC236}">
                  <a16:creationId xmlns:a16="http://schemas.microsoft.com/office/drawing/2014/main" id="{0077DFCB-CF74-4A57-B4C0-10340C466713}"/>
                </a:ext>
              </a:extLst>
            </p:cNvPr>
            <p:cNvSpPr/>
            <p:nvPr/>
          </p:nvSpPr>
          <p:spPr>
            <a:xfrm>
              <a:off x="2721804" y="1905081"/>
              <a:ext cx="64327" cy="136452"/>
            </a:xfrm>
            <a:custGeom>
              <a:avLst/>
              <a:gdLst>
                <a:gd name="connsiteX0" fmla="*/ 64327 w 64327"/>
                <a:gd name="connsiteY0" fmla="*/ 0 h 136452"/>
                <a:gd name="connsiteX1" fmla="*/ 0 w 64327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327" h="136452">
                  <a:moveTo>
                    <a:pt x="64327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3" name="Freeform: Shape 712">
              <a:extLst>
                <a:ext uri="{FF2B5EF4-FFF2-40B4-BE49-F238E27FC236}">
                  <a16:creationId xmlns:a16="http://schemas.microsoft.com/office/drawing/2014/main" id="{3642B362-3399-43C3-AAFA-27FD8AFCF3D6}"/>
                </a:ext>
              </a:extLst>
            </p:cNvPr>
            <p:cNvSpPr/>
            <p:nvPr/>
          </p:nvSpPr>
          <p:spPr>
            <a:xfrm>
              <a:off x="3636312" y="1902575"/>
              <a:ext cx="77415" cy="136173"/>
            </a:xfrm>
            <a:custGeom>
              <a:avLst/>
              <a:gdLst>
                <a:gd name="connsiteX0" fmla="*/ 77416 w 77415"/>
                <a:gd name="connsiteY0" fmla="*/ 0 h 136173"/>
                <a:gd name="connsiteX1" fmla="*/ 0 w 77415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36173">
                  <a:moveTo>
                    <a:pt x="77416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4" name="Freeform: Shape 713">
              <a:extLst>
                <a:ext uri="{FF2B5EF4-FFF2-40B4-BE49-F238E27FC236}">
                  <a16:creationId xmlns:a16="http://schemas.microsoft.com/office/drawing/2014/main" id="{5A7499F0-1171-4998-831F-EF7D10EA9929}"/>
                </a:ext>
              </a:extLst>
            </p:cNvPr>
            <p:cNvSpPr/>
            <p:nvPr/>
          </p:nvSpPr>
          <p:spPr>
            <a:xfrm>
              <a:off x="7279866" y="3936828"/>
              <a:ext cx="88276" cy="131161"/>
            </a:xfrm>
            <a:custGeom>
              <a:avLst/>
              <a:gdLst>
                <a:gd name="connsiteX0" fmla="*/ 88276 w 88276"/>
                <a:gd name="connsiteY0" fmla="*/ 0 h 131161"/>
                <a:gd name="connsiteX1" fmla="*/ 0 w 88276"/>
                <a:gd name="connsiteY1" fmla="*/ 131161 h 131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31161">
                  <a:moveTo>
                    <a:pt x="88276" y="0"/>
                  </a:moveTo>
                  <a:lnTo>
                    <a:pt x="0" y="1311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5" name="Freeform: Shape 714">
              <a:extLst>
                <a:ext uri="{FF2B5EF4-FFF2-40B4-BE49-F238E27FC236}">
                  <a16:creationId xmlns:a16="http://schemas.microsoft.com/office/drawing/2014/main" id="{3B78C71D-8E66-44B2-9760-379550400AF8}"/>
                </a:ext>
              </a:extLst>
            </p:cNvPr>
            <p:cNvSpPr/>
            <p:nvPr/>
          </p:nvSpPr>
          <p:spPr>
            <a:xfrm>
              <a:off x="4087997" y="1913157"/>
              <a:ext cx="96351" cy="128376"/>
            </a:xfrm>
            <a:custGeom>
              <a:avLst/>
              <a:gdLst>
                <a:gd name="connsiteX0" fmla="*/ 96352 w 96351"/>
                <a:gd name="connsiteY0" fmla="*/ 0 h 128376"/>
                <a:gd name="connsiteX1" fmla="*/ 0 w 96351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28376">
                  <a:moveTo>
                    <a:pt x="96352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6" name="Freeform: Shape 715">
              <a:extLst>
                <a:ext uri="{FF2B5EF4-FFF2-40B4-BE49-F238E27FC236}">
                  <a16:creationId xmlns:a16="http://schemas.microsoft.com/office/drawing/2014/main" id="{76B22FBB-0B2E-4584-85EE-54322A8F6EE6}"/>
                </a:ext>
              </a:extLst>
            </p:cNvPr>
            <p:cNvSpPr/>
            <p:nvPr/>
          </p:nvSpPr>
          <p:spPr>
            <a:xfrm>
              <a:off x="7512670" y="4153480"/>
              <a:ext cx="77415" cy="136173"/>
            </a:xfrm>
            <a:custGeom>
              <a:avLst/>
              <a:gdLst>
                <a:gd name="connsiteX0" fmla="*/ 77416 w 77415"/>
                <a:gd name="connsiteY0" fmla="*/ 0 h 136173"/>
                <a:gd name="connsiteX1" fmla="*/ 0 w 77415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36173">
                  <a:moveTo>
                    <a:pt x="77416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7" name="Freeform: Shape 716">
              <a:extLst>
                <a:ext uri="{FF2B5EF4-FFF2-40B4-BE49-F238E27FC236}">
                  <a16:creationId xmlns:a16="http://schemas.microsoft.com/office/drawing/2014/main" id="{3B84D734-5F0D-4B18-89F8-ADAC85A7D5F6}"/>
                </a:ext>
              </a:extLst>
            </p:cNvPr>
            <p:cNvSpPr/>
            <p:nvPr/>
          </p:nvSpPr>
          <p:spPr>
            <a:xfrm>
              <a:off x="3636312" y="1680631"/>
              <a:ext cx="64049" cy="133667"/>
            </a:xfrm>
            <a:custGeom>
              <a:avLst/>
              <a:gdLst>
                <a:gd name="connsiteX0" fmla="*/ 64049 w 64049"/>
                <a:gd name="connsiteY0" fmla="*/ 0 h 133667"/>
                <a:gd name="connsiteX1" fmla="*/ 0 w 64049"/>
                <a:gd name="connsiteY1" fmla="*/ 133667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49" h="133667">
                  <a:moveTo>
                    <a:pt x="64049" y="0"/>
                  </a:moveTo>
                  <a:lnTo>
                    <a:pt x="0" y="1336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8" name="Freeform: Shape 717">
              <a:extLst>
                <a:ext uri="{FF2B5EF4-FFF2-40B4-BE49-F238E27FC236}">
                  <a16:creationId xmlns:a16="http://schemas.microsoft.com/office/drawing/2014/main" id="{E13EA13E-6E27-4011-9B76-05DDB2499ED9}"/>
                </a:ext>
              </a:extLst>
            </p:cNvPr>
            <p:cNvSpPr/>
            <p:nvPr/>
          </p:nvSpPr>
          <p:spPr>
            <a:xfrm>
              <a:off x="4087997" y="1239529"/>
              <a:ext cx="96351" cy="128376"/>
            </a:xfrm>
            <a:custGeom>
              <a:avLst/>
              <a:gdLst>
                <a:gd name="connsiteX0" fmla="*/ 96352 w 96351"/>
                <a:gd name="connsiteY0" fmla="*/ 0 h 128376"/>
                <a:gd name="connsiteX1" fmla="*/ 8076 w 96351"/>
                <a:gd name="connsiteY1" fmla="*/ 120301 h 128376"/>
                <a:gd name="connsiteX2" fmla="*/ 0 w 96351"/>
                <a:gd name="connsiteY2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6351" h="128376">
                  <a:moveTo>
                    <a:pt x="96352" y="0"/>
                  </a:moveTo>
                  <a:lnTo>
                    <a:pt x="8076" y="120301"/>
                  </a:lnTo>
                  <a:lnTo>
                    <a:pt x="0" y="128377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9" name="Freeform: Shape 718">
              <a:extLst>
                <a:ext uri="{FF2B5EF4-FFF2-40B4-BE49-F238E27FC236}">
                  <a16:creationId xmlns:a16="http://schemas.microsoft.com/office/drawing/2014/main" id="{6B74B6BC-1A48-4380-A346-CE3DB873FB20}"/>
                </a:ext>
              </a:extLst>
            </p:cNvPr>
            <p:cNvSpPr/>
            <p:nvPr/>
          </p:nvSpPr>
          <p:spPr>
            <a:xfrm>
              <a:off x="3409078" y="555039"/>
              <a:ext cx="80200" cy="133667"/>
            </a:xfrm>
            <a:custGeom>
              <a:avLst/>
              <a:gdLst>
                <a:gd name="connsiteX0" fmla="*/ 80201 w 80200"/>
                <a:gd name="connsiteY0" fmla="*/ 0 h 133667"/>
                <a:gd name="connsiteX1" fmla="*/ 0 w 80200"/>
                <a:gd name="connsiteY1" fmla="*/ 133668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3667">
                  <a:moveTo>
                    <a:pt x="80201" y="0"/>
                  </a:moveTo>
                  <a:lnTo>
                    <a:pt x="0" y="13366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0" name="Freeform: Shape 719">
              <a:extLst>
                <a:ext uri="{FF2B5EF4-FFF2-40B4-BE49-F238E27FC236}">
                  <a16:creationId xmlns:a16="http://schemas.microsoft.com/office/drawing/2014/main" id="{69BF39BB-7F0A-4C53-8144-50F92C677E70}"/>
                </a:ext>
              </a:extLst>
            </p:cNvPr>
            <p:cNvSpPr/>
            <p:nvPr/>
          </p:nvSpPr>
          <p:spPr>
            <a:xfrm>
              <a:off x="5689222" y="5059635"/>
              <a:ext cx="80200" cy="133667"/>
            </a:xfrm>
            <a:custGeom>
              <a:avLst/>
              <a:gdLst>
                <a:gd name="connsiteX0" fmla="*/ 80201 w 80200"/>
                <a:gd name="connsiteY0" fmla="*/ 0 h 133667"/>
                <a:gd name="connsiteX1" fmla="*/ 0 w 80200"/>
                <a:gd name="connsiteY1" fmla="*/ 133667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3667">
                  <a:moveTo>
                    <a:pt x="80201" y="0"/>
                  </a:moveTo>
                  <a:lnTo>
                    <a:pt x="0" y="1336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1" name="Freeform: Shape 720">
              <a:extLst>
                <a:ext uri="{FF2B5EF4-FFF2-40B4-BE49-F238E27FC236}">
                  <a16:creationId xmlns:a16="http://schemas.microsoft.com/office/drawing/2014/main" id="{343B9C71-D76B-4DFB-AD24-8E1A8F5D44F3}"/>
                </a:ext>
              </a:extLst>
            </p:cNvPr>
            <p:cNvSpPr/>
            <p:nvPr/>
          </p:nvSpPr>
          <p:spPr>
            <a:xfrm>
              <a:off x="4087997" y="1461472"/>
              <a:ext cx="88276" cy="130882"/>
            </a:xfrm>
            <a:custGeom>
              <a:avLst/>
              <a:gdLst>
                <a:gd name="connsiteX0" fmla="*/ 88276 w 88276"/>
                <a:gd name="connsiteY0" fmla="*/ 0 h 130882"/>
                <a:gd name="connsiteX1" fmla="*/ 0 w 88276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30882">
                  <a:moveTo>
                    <a:pt x="88276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2" name="Freeform: Shape 721">
              <a:extLst>
                <a:ext uri="{FF2B5EF4-FFF2-40B4-BE49-F238E27FC236}">
                  <a16:creationId xmlns:a16="http://schemas.microsoft.com/office/drawing/2014/main" id="{AD6DEDF1-58C9-41C2-AE20-EB51FB24326B}"/>
                </a:ext>
              </a:extLst>
            </p:cNvPr>
            <p:cNvSpPr/>
            <p:nvPr/>
          </p:nvSpPr>
          <p:spPr>
            <a:xfrm>
              <a:off x="8881369" y="3257908"/>
              <a:ext cx="74909" cy="133667"/>
            </a:xfrm>
            <a:custGeom>
              <a:avLst/>
              <a:gdLst>
                <a:gd name="connsiteX0" fmla="*/ 74909 w 74909"/>
                <a:gd name="connsiteY0" fmla="*/ 0 h 133667"/>
                <a:gd name="connsiteX1" fmla="*/ 0 w 74909"/>
                <a:gd name="connsiteY1" fmla="*/ 133667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3667">
                  <a:moveTo>
                    <a:pt x="74909" y="0"/>
                  </a:moveTo>
                  <a:lnTo>
                    <a:pt x="0" y="1336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3" name="Freeform: Shape 722">
              <a:extLst>
                <a:ext uri="{FF2B5EF4-FFF2-40B4-BE49-F238E27FC236}">
                  <a16:creationId xmlns:a16="http://schemas.microsoft.com/office/drawing/2014/main" id="{553AEDF4-B92E-41DF-956B-8D369F8A155E}"/>
                </a:ext>
              </a:extLst>
            </p:cNvPr>
            <p:cNvSpPr/>
            <p:nvPr/>
          </p:nvSpPr>
          <p:spPr>
            <a:xfrm>
              <a:off x="4087997" y="1685922"/>
              <a:ext cx="88276" cy="130882"/>
            </a:xfrm>
            <a:custGeom>
              <a:avLst/>
              <a:gdLst>
                <a:gd name="connsiteX0" fmla="*/ 88276 w 88276"/>
                <a:gd name="connsiteY0" fmla="*/ 0 h 130882"/>
                <a:gd name="connsiteX1" fmla="*/ 0 w 88276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30882">
                  <a:moveTo>
                    <a:pt x="88276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4" name="Freeform: Shape 723">
              <a:extLst>
                <a:ext uri="{FF2B5EF4-FFF2-40B4-BE49-F238E27FC236}">
                  <a16:creationId xmlns:a16="http://schemas.microsoft.com/office/drawing/2014/main" id="{4AA2C505-69B4-4DCE-8862-1BD120AC7718}"/>
                </a:ext>
              </a:extLst>
            </p:cNvPr>
            <p:cNvSpPr/>
            <p:nvPr/>
          </p:nvSpPr>
          <p:spPr>
            <a:xfrm>
              <a:off x="8654135" y="2811514"/>
              <a:ext cx="82706" cy="133667"/>
            </a:xfrm>
            <a:custGeom>
              <a:avLst/>
              <a:gdLst>
                <a:gd name="connsiteX0" fmla="*/ 82706 w 82706"/>
                <a:gd name="connsiteY0" fmla="*/ 0 h 133667"/>
                <a:gd name="connsiteX1" fmla="*/ 0 w 82706"/>
                <a:gd name="connsiteY1" fmla="*/ 133668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133667">
                  <a:moveTo>
                    <a:pt x="82706" y="0"/>
                  </a:moveTo>
                  <a:lnTo>
                    <a:pt x="0" y="13366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5" name="Freeform: Shape 724">
              <a:extLst>
                <a:ext uri="{FF2B5EF4-FFF2-40B4-BE49-F238E27FC236}">
                  <a16:creationId xmlns:a16="http://schemas.microsoft.com/office/drawing/2014/main" id="{6E2F60F9-5944-4556-9FED-8750F1BBAD0A}"/>
                </a:ext>
              </a:extLst>
            </p:cNvPr>
            <p:cNvSpPr/>
            <p:nvPr/>
          </p:nvSpPr>
          <p:spPr>
            <a:xfrm>
              <a:off x="3863547" y="2143177"/>
              <a:ext cx="96073" cy="128098"/>
            </a:xfrm>
            <a:custGeom>
              <a:avLst/>
              <a:gdLst>
                <a:gd name="connsiteX0" fmla="*/ 96074 w 96073"/>
                <a:gd name="connsiteY0" fmla="*/ 0 h 128098"/>
                <a:gd name="connsiteX1" fmla="*/ 0 w 96073"/>
                <a:gd name="connsiteY1" fmla="*/ 128098 h 128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28098">
                  <a:moveTo>
                    <a:pt x="96074" y="0"/>
                  </a:moveTo>
                  <a:lnTo>
                    <a:pt x="0" y="1280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6" name="Freeform: Shape 725">
              <a:extLst>
                <a:ext uri="{FF2B5EF4-FFF2-40B4-BE49-F238E27FC236}">
                  <a16:creationId xmlns:a16="http://schemas.microsoft.com/office/drawing/2014/main" id="{2BE340F2-6955-4D2C-B287-4E57015C6056}"/>
                </a:ext>
              </a:extLst>
            </p:cNvPr>
            <p:cNvSpPr/>
            <p:nvPr/>
          </p:nvSpPr>
          <p:spPr>
            <a:xfrm>
              <a:off x="2267334" y="1905081"/>
              <a:ext cx="74909" cy="133667"/>
            </a:xfrm>
            <a:custGeom>
              <a:avLst/>
              <a:gdLst>
                <a:gd name="connsiteX0" fmla="*/ 74909 w 74909"/>
                <a:gd name="connsiteY0" fmla="*/ 0 h 133667"/>
                <a:gd name="connsiteX1" fmla="*/ 0 w 74909"/>
                <a:gd name="connsiteY1" fmla="*/ 133668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3667">
                  <a:moveTo>
                    <a:pt x="74909" y="0"/>
                  </a:moveTo>
                  <a:lnTo>
                    <a:pt x="0" y="13366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7" name="Freeform: Shape 726">
              <a:extLst>
                <a:ext uri="{FF2B5EF4-FFF2-40B4-BE49-F238E27FC236}">
                  <a16:creationId xmlns:a16="http://schemas.microsoft.com/office/drawing/2014/main" id="{291A0412-5A10-4B0D-8EAE-A9E391BECF17}"/>
                </a:ext>
              </a:extLst>
            </p:cNvPr>
            <p:cNvSpPr/>
            <p:nvPr/>
          </p:nvSpPr>
          <p:spPr>
            <a:xfrm>
              <a:off x="3636312" y="5284363"/>
              <a:ext cx="80200" cy="133667"/>
            </a:xfrm>
            <a:custGeom>
              <a:avLst/>
              <a:gdLst>
                <a:gd name="connsiteX0" fmla="*/ 80200 w 80200"/>
                <a:gd name="connsiteY0" fmla="*/ 0 h 133667"/>
                <a:gd name="connsiteX1" fmla="*/ 0 w 80200"/>
                <a:gd name="connsiteY1" fmla="*/ 133668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3667">
                  <a:moveTo>
                    <a:pt x="80200" y="0"/>
                  </a:moveTo>
                  <a:lnTo>
                    <a:pt x="0" y="13366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8" name="Freeform: Shape 727">
              <a:extLst>
                <a:ext uri="{FF2B5EF4-FFF2-40B4-BE49-F238E27FC236}">
                  <a16:creationId xmlns:a16="http://schemas.microsoft.com/office/drawing/2014/main" id="{FA9A0AE0-E42A-4B31-ADBA-B8F4CF91B3E0}"/>
                </a:ext>
              </a:extLst>
            </p:cNvPr>
            <p:cNvSpPr/>
            <p:nvPr/>
          </p:nvSpPr>
          <p:spPr>
            <a:xfrm>
              <a:off x="6830966" y="4458131"/>
              <a:ext cx="128098" cy="64327"/>
            </a:xfrm>
            <a:custGeom>
              <a:avLst/>
              <a:gdLst>
                <a:gd name="connsiteX0" fmla="*/ 128098 w 128098"/>
                <a:gd name="connsiteY0" fmla="*/ 0 h 64327"/>
                <a:gd name="connsiteX1" fmla="*/ 0 w 128098"/>
                <a:gd name="connsiteY1" fmla="*/ 64328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64327">
                  <a:moveTo>
                    <a:pt x="128098" y="0"/>
                  </a:moveTo>
                  <a:lnTo>
                    <a:pt x="0" y="643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9" name="Freeform: Shape 728">
              <a:extLst>
                <a:ext uri="{FF2B5EF4-FFF2-40B4-BE49-F238E27FC236}">
                  <a16:creationId xmlns:a16="http://schemas.microsoft.com/office/drawing/2014/main" id="{2F376941-63BD-4730-A7BD-03C7C8065FFB}"/>
                </a:ext>
              </a:extLst>
            </p:cNvPr>
            <p:cNvSpPr/>
            <p:nvPr/>
          </p:nvSpPr>
          <p:spPr>
            <a:xfrm>
              <a:off x="8429406" y="2003940"/>
              <a:ext cx="128376" cy="42884"/>
            </a:xfrm>
            <a:custGeom>
              <a:avLst/>
              <a:gdLst>
                <a:gd name="connsiteX0" fmla="*/ 128377 w 128376"/>
                <a:gd name="connsiteY0" fmla="*/ 0 h 42884"/>
                <a:gd name="connsiteX1" fmla="*/ 0 w 12837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2884">
                  <a:moveTo>
                    <a:pt x="128377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0" name="Freeform: Shape 729">
              <a:extLst>
                <a:ext uri="{FF2B5EF4-FFF2-40B4-BE49-F238E27FC236}">
                  <a16:creationId xmlns:a16="http://schemas.microsoft.com/office/drawing/2014/main" id="{4854777F-7963-4DAB-91D0-092E33173BDD}"/>
                </a:ext>
              </a:extLst>
            </p:cNvPr>
            <p:cNvSpPr/>
            <p:nvPr/>
          </p:nvSpPr>
          <p:spPr>
            <a:xfrm>
              <a:off x="7745196" y="2003940"/>
              <a:ext cx="128376" cy="42884"/>
            </a:xfrm>
            <a:custGeom>
              <a:avLst/>
              <a:gdLst>
                <a:gd name="connsiteX0" fmla="*/ 128376 w 128376"/>
                <a:gd name="connsiteY0" fmla="*/ 0 h 42884"/>
                <a:gd name="connsiteX1" fmla="*/ 0 w 12837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2884">
                  <a:moveTo>
                    <a:pt x="128376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2" name="Freeform: Shape 731">
              <a:extLst>
                <a:ext uri="{FF2B5EF4-FFF2-40B4-BE49-F238E27FC236}">
                  <a16:creationId xmlns:a16="http://schemas.microsoft.com/office/drawing/2014/main" id="{50E0961B-6424-4FBC-A08B-31CD06E98CD5}"/>
                </a:ext>
              </a:extLst>
            </p:cNvPr>
            <p:cNvSpPr/>
            <p:nvPr/>
          </p:nvSpPr>
          <p:spPr>
            <a:xfrm>
              <a:off x="4777777" y="3575925"/>
              <a:ext cx="128376" cy="40100"/>
            </a:xfrm>
            <a:custGeom>
              <a:avLst/>
              <a:gdLst>
                <a:gd name="connsiteX0" fmla="*/ 128377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7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3" name="Freeform: Shape 732">
              <a:extLst>
                <a:ext uri="{FF2B5EF4-FFF2-40B4-BE49-F238E27FC236}">
                  <a16:creationId xmlns:a16="http://schemas.microsoft.com/office/drawing/2014/main" id="{2D42BAA8-768C-4C79-B428-938C87194D63}"/>
                </a:ext>
              </a:extLst>
            </p:cNvPr>
            <p:cNvSpPr/>
            <p:nvPr/>
          </p:nvSpPr>
          <p:spPr>
            <a:xfrm>
              <a:off x="3179058" y="338665"/>
              <a:ext cx="88276" cy="130882"/>
            </a:xfrm>
            <a:custGeom>
              <a:avLst/>
              <a:gdLst>
                <a:gd name="connsiteX0" fmla="*/ 88276 w 88276"/>
                <a:gd name="connsiteY0" fmla="*/ 0 h 130882"/>
                <a:gd name="connsiteX1" fmla="*/ 0 w 88276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30882">
                  <a:moveTo>
                    <a:pt x="88276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4" name="Freeform: Shape 733">
              <a:extLst>
                <a:ext uri="{FF2B5EF4-FFF2-40B4-BE49-F238E27FC236}">
                  <a16:creationId xmlns:a16="http://schemas.microsoft.com/office/drawing/2014/main" id="{90760257-41EC-4002-AABD-286C4AFA5AB3}"/>
                </a:ext>
              </a:extLst>
            </p:cNvPr>
            <p:cNvSpPr/>
            <p:nvPr/>
          </p:nvSpPr>
          <p:spPr>
            <a:xfrm>
              <a:off x="8199665" y="2001433"/>
              <a:ext cx="128376" cy="45391"/>
            </a:xfrm>
            <a:custGeom>
              <a:avLst/>
              <a:gdLst>
                <a:gd name="connsiteX0" fmla="*/ 128377 w 128376"/>
                <a:gd name="connsiteY0" fmla="*/ 0 h 45391"/>
                <a:gd name="connsiteX1" fmla="*/ 0 w 128376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391">
                  <a:moveTo>
                    <a:pt x="128377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5" name="Freeform: Shape 734">
              <a:extLst>
                <a:ext uri="{FF2B5EF4-FFF2-40B4-BE49-F238E27FC236}">
                  <a16:creationId xmlns:a16="http://schemas.microsoft.com/office/drawing/2014/main" id="{645BC359-4DFE-4362-ABE6-897333377DAF}"/>
                </a:ext>
              </a:extLst>
            </p:cNvPr>
            <p:cNvSpPr/>
            <p:nvPr/>
          </p:nvSpPr>
          <p:spPr>
            <a:xfrm>
              <a:off x="6600946" y="1993358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6" name="Freeform: Shape 735">
              <a:extLst>
                <a:ext uri="{FF2B5EF4-FFF2-40B4-BE49-F238E27FC236}">
                  <a16:creationId xmlns:a16="http://schemas.microsoft.com/office/drawing/2014/main" id="{97A49F8A-3EB4-4E6D-9AA8-45F67C008DF3}"/>
                </a:ext>
              </a:extLst>
            </p:cNvPr>
            <p:cNvSpPr/>
            <p:nvPr/>
          </p:nvSpPr>
          <p:spPr>
            <a:xfrm>
              <a:off x="5916457" y="4019813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7" name="Freeform: Shape 736">
              <a:extLst>
                <a:ext uri="{FF2B5EF4-FFF2-40B4-BE49-F238E27FC236}">
                  <a16:creationId xmlns:a16="http://schemas.microsoft.com/office/drawing/2014/main" id="{36EEC1F3-2FBD-4E18-BC41-554A6A1471F5}"/>
                </a:ext>
              </a:extLst>
            </p:cNvPr>
            <p:cNvSpPr/>
            <p:nvPr/>
          </p:nvSpPr>
          <p:spPr>
            <a:xfrm>
              <a:off x="6146477" y="4452840"/>
              <a:ext cx="128376" cy="69618"/>
            </a:xfrm>
            <a:custGeom>
              <a:avLst/>
              <a:gdLst>
                <a:gd name="connsiteX0" fmla="*/ 128377 w 128376"/>
                <a:gd name="connsiteY0" fmla="*/ 0 h 69618"/>
                <a:gd name="connsiteX1" fmla="*/ 0 w 128376"/>
                <a:gd name="connsiteY1" fmla="*/ 69619 h 6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9618">
                  <a:moveTo>
                    <a:pt x="128377" y="0"/>
                  </a:moveTo>
                  <a:lnTo>
                    <a:pt x="0" y="696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8" name="Freeform: Shape 737">
              <a:extLst>
                <a:ext uri="{FF2B5EF4-FFF2-40B4-BE49-F238E27FC236}">
                  <a16:creationId xmlns:a16="http://schemas.microsoft.com/office/drawing/2014/main" id="{A47BF43E-3EF2-4431-B69D-0A958A433CFA}"/>
                </a:ext>
              </a:extLst>
            </p:cNvPr>
            <p:cNvSpPr/>
            <p:nvPr/>
          </p:nvSpPr>
          <p:spPr>
            <a:xfrm>
              <a:off x="2954608" y="4479573"/>
              <a:ext cx="128098" cy="42884"/>
            </a:xfrm>
            <a:custGeom>
              <a:avLst/>
              <a:gdLst>
                <a:gd name="connsiteX0" fmla="*/ 128098 w 128098"/>
                <a:gd name="connsiteY0" fmla="*/ 0 h 42884"/>
                <a:gd name="connsiteX1" fmla="*/ 0 w 128098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42884">
                  <a:moveTo>
                    <a:pt x="128098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9" name="Freeform: Shape 738">
              <a:extLst>
                <a:ext uri="{FF2B5EF4-FFF2-40B4-BE49-F238E27FC236}">
                  <a16:creationId xmlns:a16="http://schemas.microsoft.com/office/drawing/2014/main" id="{F29AD0AB-65F1-40E1-9253-A2148226DC0B}"/>
                </a:ext>
              </a:extLst>
            </p:cNvPr>
            <p:cNvSpPr/>
            <p:nvPr/>
          </p:nvSpPr>
          <p:spPr>
            <a:xfrm>
              <a:off x="9568365" y="4482358"/>
              <a:ext cx="128376" cy="40100"/>
            </a:xfrm>
            <a:custGeom>
              <a:avLst/>
              <a:gdLst>
                <a:gd name="connsiteX0" fmla="*/ 128377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7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0" name="Freeform: Shape 739">
              <a:extLst>
                <a:ext uri="{FF2B5EF4-FFF2-40B4-BE49-F238E27FC236}">
                  <a16:creationId xmlns:a16="http://schemas.microsoft.com/office/drawing/2014/main" id="{C54562B4-A164-4A9B-A507-DBE271EAB377}"/>
                </a:ext>
              </a:extLst>
            </p:cNvPr>
            <p:cNvSpPr/>
            <p:nvPr/>
          </p:nvSpPr>
          <p:spPr>
            <a:xfrm>
              <a:off x="8881369" y="3035964"/>
              <a:ext cx="85491" cy="130882"/>
            </a:xfrm>
            <a:custGeom>
              <a:avLst/>
              <a:gdLst>
                <a:gd name="connsiteX0" fmla="*/ 85492 w 85491"/>
                <a:gd name="connsiteY0" fmla="*/ 0 h 130882"/>
                <a:gd name="connsiteX1" fmla="*/ 0 w 85491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130882">
                  <a:moveTo>
                    <a:pt x="85492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1" name="Freeform: Shape 740">
              <a:extLst>
                <a:ext uri="{FF2B5EF4-FFF2-40B4-BE49-F238E27FC236}">
                  <a16:creationId xmlns:a16="http://schemas.microsoft.com/office/drawing/2014/main" id="{03E4EAFC-B4F5-4D50-8A02-477D43A56BDB}"/>
                </a:ext>
              </a:extLst>
            </p:cNvPr>
            <p:cNvSpPr/>
            <p:nvPr/>
          </p:nvSpPr>
          <p:spPr>
            <a:xfrm>
              <a:off x="5232247" y="881133"/>
              <a:ext cx="128376" cy="37593"/>
            </a:xfrm>
            <a:custGeom>
              <a:avLst/>
              <a:gdLst>
                <a:gd name="connsiteX0" fmla="*/ 128376 w 128376"/>
                <a:gd name="connsiteY0" fmla="*/ 0 h 37593"/>
                <a:gd name="connsiteX1" fmla="*/ 0 w 128376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7593">
                  <a:moveTo>
                    <a:pt x="128376" y="0"/>
                  </a:moveTo>
                  <a:lnTo>
                    <a:pt x="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2" name="Freeform: Shape 741">
              <a:extLst>
                <a:ext uri="{FF2B5EF4-FFF2-40B4-BE49-F238E27FC236}">
                  <a16:creationId xmlns:a16="http://schemas.microsoft.com/office/drawing/2014/main" id="{2A0C8240-3B1B-42B5-8FC2-36B73E4937DC}"/>
                </a:ext>
              </a:extLst>
            </p:cNvPr>
            <p:cNvSpPr/>
            <p:nvPr/>
          </p:nvSpPr>
          <p:spPr>
            <a:xfrm>
              <a:off x="7742411" y="4383221"/>
              <a:ext cx="82985" cy="131161"/>
            </a:xfrm>
            <a:custGeom>
              <a:avLst/>
              <a:gdLst>
                <a:gd name="connsiteX0" fmla="*/ 82986 w 82985"/>
                <a:gd name="connsiteY0" fmla="*/ 0 h 131161"/>
                <a:gd name="connsiteX1" fmla="*/ 0 w 82985"/>
                <a:gd name="connsiteY1" fmla="*/ 131161 h 131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31161">
                  <a:moveTo>
                    <a:pt x="82986" y="0"/>
                  </a:moveTo>
                  <a:lnTo>
                    <a:pt x="0" y="1311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3" name="Freeform: Shape 742">
              <a:extLst>
                <a:ext uri="{FF2B5EF4-FFF2-40B4-BE49-F238E27FC236}">
                  <a16:creationId xmlns:a16="http://schemas.microsoft.com/office/drawing/2014/main" id="{375A9950-D12C-4B0C-BC42-8CC4B9AD4FBC}"/>
                </a:ext>
              </a:extLst>
            </p:cNvPr>
            <p:cNvSpPr/>
            <p:nvPr/>
          </p:nvSpPr>
          <p:spPr>
            <a:xfrm>
              <a:off x="7969646" y="4386006"/>
              <a:ext cx="72124" cy="130882"/>
            </a:xfrm>
            <a:custGeom>
              <a:avLst/>
              <a:gdLst>
                <a:gd name="connsiteX0" fmla="*/ 72125 w 72124"/>
                <a:gd name="connsiteY0" fmla="*/ 0 h 130882"/>
                <a:gd name="connsiteX1" fmla="*/ 0 w 72124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30882">
                  <a:moveTo>
                    <a:pt x="72125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4" name="Freeform: Shape 743">
              <a:extLst>
                <a:ext uri="{FF2B5EF4-FFF2-40B4-BE49-F238E27FC236}">
                  <a16:creationId xmlns:a16="http://schemas.microsoft.com/office/drawing/2014/main" id="{D22614C8-68A2-421E-84B8-902302D21518}"/>
                </a:ext>
              </a:extLst>
            </p:cNvPr>
            <p:cNvSpPr/>
            <p:nvPr/>
          </p:nvSpPr>
          <p:spPr>
            <a:xfrm>
              <a:off x="3633528" y="2137607"/>
              <a:ext cx="90782" cy="128376"/>
            </a:xfrm>
            <a:custGeom>
              <a:avLst/>
              <a:gdLst>
                <a:gd name="connsiteX0" fmla="*/ 90783 w 90782"/>
                <a:gd name="connsiteY0" fmla="*/ 0 h 128376"/>
                <a:gd name="connsiteX1" fmla="*/ 0 w 90782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128376">
                  <a:moveTo>
                    <a:pt x="90783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5" name="Freeform: Shape 744">
              <a:extLst>
                <a:ext uri="{FF2B5EF4-FFF2-40B4-BE49-F238E27FC236}">
                  <a16:creationId xmlns:a16="http://schemas.microsoft.com/office/drawing/2014/main" id="{E9E33535-2223-4DE9-A4E1-5D7904B3CDDE}"/>
                </a:ext>
              </a:extLst>
            </p:cNvPr>
            <p:cNvSpPr/>
            <p:nvPr/>
          </p:nvSpPr>
          <p:spPr>
            <a:xfrm>
              <a:off x="8883876" y="2223377"/>
              <a:ext cx="128376" cy="47897"/>
            </a:xfrm>
            <a:custGeom>
              <a:avLst/>
              <a:gdLst>
                <a:gd name="connsiteX0" fmla="*/ 128377 w 128376"/>
                <a:gd name="connsiteY0" fmla="*/ 0 h 47897"/>
                <a:gd name="connsiteX1" fmla="*/ 0 w 128376"/>
                <a:gd name="connsiteY1" fmla="*/ 47898 h 47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7897">
                  <a:moveTo>
                    <a:pt x="128377" y="0"/>
                  </a:moveTo>
                  <a:lnTo>
                    <a:pt x="0" y="478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6" name="Freeform: Shape 745">
              <a:extLst>
                <a:ext uri="{FF2B5EF4-FFF2-40B4-BE49-F238E27FC236}">
                  <a16:creationId xmlns:a16="http://schemas.microsoft.com/office/drawing/2014/main" id="{45CD14B3-55F8-4BB5-B7C4-9229479E3E7F}"/>
                </a:ext>
              </a:extLst>
            </p:cNvPr>
            <p:cNvSpPr/>
            <p:nvPr/>
          </p:nvSpPr>
          <p:spPr>
            <a:xfrm>
              <a:off x="5916457" y="1544179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7" name="Freeform: Shape 746">
              <a:extLst>
                <a:ext uri="{FF2B5EF4-FFF2-40B4-BE49-F238E27FC236}">
                  <a16:creationId xmlns:a16="http://schemas.microsoft.com/office/drawing/2014/main" id="{2526DDF8-1753-4CA8-9176-411FE18EBDFF}"/>
                </a:ext>
              </a:extLst>
            </p:cNvPr>
            <p:cNvSpPr/>
            <p:nvPr/>
          </p:nvSpPr>
          <p:spPr>
            <a:xfrm>
              <a:off x="4547758" y="4394082"/>
              <a:ext cx="96351" cy="128376"/>
            </a:xfrm>
            <a:custGeom>
              <a:avLst/>
              <a:gdLst>
                <a:gd name="connsiteX0" fmla="*/ 96352 w 96351"/>
                <a:gd name="connsiteY0" fmla="*/ 0 h 128376"/>
                <a:gd name="connsiteX1" fmla="*/ 0 w 96351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28376">
                  <a:moveTo>
                    <a:pt x="96352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8" name="Freeform: Shape 747">
              <a:extLst>
                <a:ext uri="{FF2B5EF4-FFF2-40B4-BE49-F238E27FC236}">
                  <a16:creationId xmlns:a16="http://schemas.microsoft.com/office/drawing/2014/main" id="{2A832D97-0601-4B43-A61F-717387DCC513}"/>
                </a:ext>
              </a:extLst>
            </p:cNvPr>
            <p:cNvSpPr/>
            <p:nvPr/>
          </p:nvSpPr>
          <p:spPr>
            <a:xfrm>
              <a:off x="3866053" y="1012294"/>
              <a:ext cx="80200" cy="130882"/>
            </a:xfrm>
            <a:custGeom>
              <a:avLst/>
              <a:gdLst>
                <a:gd name="connsiteX0" fmla="*/ 80200 w 80200"/>
                <a:gd name="connsiteY0" fmla="*/ 0 h 130882"/>
                <a:gd name="connsiteX1" fmla="*/ 0 w 80200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0882">
                  <a:moveTo>
                    <a:pt x="80200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9" name="Freeform: Shape 748">
              <a:extLst>
                <a:ext uri="{FF2B5EF4-FFF2-40B4-BE49-F238E27FC236}">
                  <a16:creationId xmlns:a16="http://schemas.microsoft.com/office/drawing/2014/main" id="{704DCD1B-E5D9-433F-BC29-D3B49446F8D2}"/>
                </a:ext>
              </a:extLst>
            </p:cNvPr>
            <p:cNvSpPr/>
            <p:nvPr/>
          </p:nvSpPr>
          <p:spPr>
            <a:xfrm>
              <a:off x="3863547" y="3110874"/>
              <a:ext cx="128098" cy="55973"/>
            </a:xfrm>
            <a:custGeom>
              <a:avLst/>
              <a:gdLst>
                <a:gd name="connsiteX0" fmla="*/ 128098 w 128098"/>
                <a:gd name="connsiteY0" fmla="*/ 0 h 55973"/>
                <a:gd name="connsiteX1" fmla="*/ 0 w 128098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55973">
                  <a:moveTo>
                    <a:pt x="128098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0" name="Freeform: Shape 749">
              <a:extLst>
                <a:ext uri="{FF2B5EF4-FFF2-40B4-BE49-F238E27FC236}">
                  <a16:creationId xmlns:a16="http://schemas.microsoft.com/office/drawing/2014/main" id="{F7692E9C-6A9A-4E24-A6E2-AB60F71DFCB8}"/>
                </a:ext>
              </a:extLst>
            </p:cNvPr>
            <p:cNvSpPr/>
            <p:nvPr/>
          </p:nvSpPr>
          <p:spPr>
            <a:xfrm>
              <a:off x="2040100" y="2415803"/>
              <a:ext cx="123085" cy="80200"/>
            </a:xfrm>
            <a:custGeom>
              <a:avLst/>
              <a:gdLst>
                <a:gd name="connsiteX0" fmla="*/ 123085 w 123085"/>
                <a:gd name="connsiteY0" fmla="*/ 0 h 80200"/>
                <a:gd name="connsiteX1" fmla="*/ 0 w 123085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200">
                  <a:moveTo>
                    <a:pt x="123085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1" name="Freeform: Shape 750">
              <a:extLst>
                <a:ext uri="{FF2B5EF4-FFF2-40B4-BE49-F238E27FC236}">
                  <a16:creationId xmlns:a16="http://schemas.microsoft.com/office/drawing/2014/main" id="{F5F176D0-A8D2-479E-8B81-7C9DF0F7D17E}"/>
                </a:ext>
              </a:extLst>
            </p:cNvPr>
            <p:cNvSpPr/>
            <p:nvPr/>
          </p:nvSpPr>
          <p:spPr>
            <a:xfrm>
              <a:off x="1585630" y="2196644"/>
              <a:ext cx="123085" cy="74631"/>
            </a:xfrm>
            <a:custGeom>
              <a:avLst/>
              <a:gdLst>
                <a:gd name="connsiteX0" fmla="*/ 123085 w 123085"/>
                <a:gd name="connsiteY0" fmla="*/ 0 h 74631"/>
                <a:gd name="connsiteX1" fmla="*/ 0 w 123085"/>
                <a:gd name="connsiteY1" fmla="*/ 74631 h 74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74631">
                  <a:moveTo>
                    <a:pt x="123085" y="0"/>
                  </a:moveTo>
                  <a:lnTo>
                    <a:pt x="0" y="746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2" name="Freeform: Shape 751">
              <a:extLst>
                <a:ext uri="{FF2B5EF4-FFF2-40B4-BE49-F238E27FC236}">
                  <a16:creationId xmlns:a16="http://schemas.microsoft.com/office/drawing/2014/main" id="{DB477C0D-F3A5-465D-BDA9-07F0ABD0B69F}"/>
                </a:ext>
              </a:extLst>
            </p:cNvPr>
            <p:cNvSpPr/>
            <p:nvPr/>
          </p:nvSpPr>
          <p:spPr>
            <a:xfrm>
              <a:off x="8199665" y="2191074"/>
              <a:ext cx="122807" cy="80200"/>
            </a:xfrm>
            <a:custGeom>
              <a:avLst/>
              <a:gdLst>
                <a:gd name="connsiteX0" fmla="*/ 122807 w 122807"/>
                <a:gd name="connsiteY0" fmla="*/ 0 h 80200"/>
                <a:gd name="connsiteX1" fmla="*/ 0 w 122807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200">
                  <a:moveTo>
                    <a:pt x="122807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3" name="Freeform: Shape 752">
              <a:extLst>
                <a:ext uri="{FF2B5EF4-FFF2-40B4-BE49-F238E27FC236}">
                  <a16:creationId xmlns:a16="http://schemas.microsoft.com/office/drawing/2014/main" id="{0AD60733-1DCE-4CCE-B4DC-3A6134E71543}"/>
                </a:ext>
              </a:extLst>
            </p:cNvPr>
            <p:cNvSpPr/>
            <p:nvPr/>
          </p:nvSpPr>
          <p:spPr>
            <a:xfrm>
              <a:off x="6370927" y="3784502"/>
              <a:ext cx="128376" cy="58758"/>
            </a:xfrm>
            <a:custGeom>
              <a:avLst/>
              <a:gdLst>
                <a:gd name="connsiteX0" fmla="*/ 128376 w 128376"/>
                <a:gd name="connsiteY0" fmla="*/ 0 h 58758"/>
                <a:gd name="connsiteX1" fmla="*/ 0 w 128376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8758">
                  <a:moveTo>
                    <a:pt x="128376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4" name="Freeform: Shape 753">
              <a:extLst>
                <a:ext uri="{FF2B5EF4-FFF2-40B4-BE49-F238E27FC236}">
                  <a16:creationId xmlns:a16="http://schemas.microsoft.com/office/drawing/2014/main" id="{AE422DCD-5647-421A-B442-160C15611240}"/>
                </a:ext>
              </a:extLst>
            </p:cNvPr>
            <p:cNvSpPr/>
            <p:nvPr/>
          </p:nvSpPr>
          <p:spPr>
            <a:xfrm>
              <a:off x="5232247" y="3784502"/>
              <a:ext cx="128376" cy="58758"/>
            </a:xfrm>
            <a:custGeom>
              <a:avLst/>
              <a:gdLst>
                <a:gd name="connsiteX0" fmla="*/ 128376 w 128376"/>
                <a:gd name="connsiteY0" fmla="*/ 0 h 58758"/>
                <a:gd name="connsiteX1" fmla="*/ 0 w 128376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8758">
                  <a:moveTo>
                    <a:pt x="128376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5" name="Freeform: Shape 754">
              <a:extLst>
                <a:ext uri="{FF2B5EF4-FFF2-40B4-BE49-F238E27FC236}">
                  <a16:creationId xmlns:a16="http://schemas.microsoft.com/office/drawing/2014/main" id="{F40BA65B-F5E2-4AD7-91E8-24AF9BEB152F}"/>
                </a:ext>
              </a:extLst>
            </p:cNvPr>
            <p:cNvSpPr/>
            <p:nvPr/>
          </p:nvSpPr>
          <p:spPr>
            <a:xfrm>
              <a:off x="3179058" y="2140392"/>
              <a:ext cx="82985" cy="130882"/>
            </a:xfrm>
            <a:custGeom>
              <a:avLst/>
              <a:gdLst>
                <a:gd name="connsiteX0" fmla="*/ 82985 w 82985"/>
                <a:gd name="connsiteY0" fmla="*/ 0 h 130882"/>
                <a:gd name="connsiteX1" fmla="*/ 0 w 82985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30882">
                  <a:moveTo>
                    <a:pt x="82985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6" name="Freeform: Shape 755">
              <a:extLst>
                <a:ext uri="{FF2B5EF4-FFF2-40B4-BE49-F238E27FC236}">
                  <a16:creationId xmlns:a16="http://schemas.microsoft.com/office/drawing/2014/main" id="{EB78080A-274B-4163-9FC5-BBDB02532E87}"/>
                </a:ext>
              </a:extLst>
            </p:cNvPr>
            <p:cNvSpPr/>
            <p:nvPr/>
          </p:nvSpPr>
          <p:spPr>
            <a:xfrm>
              <a:off x="3863547" y="4840476"/>
              <a:ext cx="82706" cy="130882"/>
            </a:xfrm>
            <a:custGeom>
              <a:avLst/>
              <a:gdLst>
                <a:gd name="connsiteX0" fmla="*/ 82707 w 82706"/>
                <a:gd name="connsiteY0" fmla="*/ 0 h 130882"/>
                <a:gd name="connsiteX1" fmla="*/ 0 w 82706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130882">
                  <a:moveTo>
                    <a:pt x="82707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7" name="Freeform: Shape 756">
              <a:extLst>
                <a:ext uri="{FF2B5EF4-FFF2-40B4-BE49-F238E27FC236}">
                  <a16:creationId xmlns:a16="http://schemas.microsoft.com/office/drawing/2014/main" id="{A41A4C98-5E58-4A9B-AFCB-3ECE17ADA512}"/>
                </a:ext>
              </a:extLst>
            </p:cNvPr>
            <p:cNvSpPr/>
            <p:nvPr/>
          </p:nvSpPr>
          <p:spPr>
            <a:xfrm>
              <a:off x="7060707" y="2009509"/>
              <a:ext cx="128376" cy="37315"/>
            </a:xfrm>
            <a:custGeom>
              <a:avLst/>
              <a:gdLst>
                <a:gd name="connsiteX0" fmla="*/ 128377 w 128376"/>
                <a:gd name="connsiteY0" fmla="*/ 0 h 37315"/>
                <a:gd name="connsiteX1" fmla="*/ 0 w 128376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7315">
                  <a:moveTo>
                    <a:pt x="128377" y="0"/>
                  </a:moveTo>
                  <a:lnTo>
                    <a:pt x="0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8" name="Freeform: Shape 757">
              <a:extLst>
                <a:ext uri="{FF2B5EF4-FFF2-40B4-BE49-F238E27FC236}">
                  <a16:creationId xmlns:a16="http://schemas.microsoft.com/office/drawing/2014/main" id="{E5E95C2A-E6DA-4340-8772-4D95B2A50542}"/>
                </a:ext>
              </a:extLst>
            </p:cNvPr>
            <p:cNvSpPr/>
            <p:nvPr/>
          </p:nvSpPr>
          <p:spPr>
            <a:xfrm>
              <a:off x="5461988" y="4835185"/>
              <a:ext cx="77694" cy="130882"/>
            </a:xfrm>
            <a:custGeom>
              <a:avLst/>
              <a:gdLst>
                <a:gd name="connsiteX0" fmla="*/ 77694 w 77694"/>
                <a:gd name="connsiteY0" fmla="*/ 0 h 130882"/>
                <a:gd name="connsiteX1" fmla="*/ 0 w 77694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0882">
                  <a:moveTo>
                    <a:pt x="77694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9" name="Freeform: Shape 758">
              <a:extLst>
                <a:ext uri="{FF2B5EF4-FFF2-40B4-BE49-F238E27FC236}">
                  <a16:creationId xmlns:a16="http://schemas.microsoft.com/office/drawing/2014/main" id="{AC3C1490-3030-4256-8877-CC1950D1C852}"/>
                </a:ext>
              </a:extLst>
            </p:cNvPr>
            <p:cNvSpPr/>
            <p:nvPr/>
          </p:nvSpPr>
          <p:spPr>
            <a:xfrm>
              <a:off x="7512670" y="2811514"/>
              <a:ext cx="87997" cy="130882"/>
            </a:xfrm>
            <a:custGeom>
              <a:avLst/>
              <a:gdLst>
                <a:gd name="connsiteX0" fmla="*/ 87998 w 87997"/>
                <a:gd name="connsiteY0" fmla="*/ 0 h 130882"/>
                <a:gd name="connsiteX1" fmla="*/ 0 w 87997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997" h="130882">
                  <a:moveTo>
                    <a:pt x="87998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0" name="Freeform: Shape 759">
              <a:extLst>
                <a:ext uri="{FF2B5EF4-FFF2-40B4-BE49-F238E27FC236}">
                  <a16:creationId xmlns:a16="http://schemas.microsoft.com/office/drawing/2014/main" id="{7C5DDD15-5E70-4188-861C-9785D0EE6172}"/>
                </a:ext>
              </a:extLst>
            </p:cNvPr>
            <p:cNvSpPr/>
            <p:nvPr/>
          </p:nvSpPr>
          <p:spPr>
            <a:xfrm>
              <a:off x="5916457" y="1760832"/>
              <a:ext cx="128376" cy="55973"/>
            </a:xfrm>
            <a:custGeom>
              <a:avLst/>
              <a:gdLst>
                <a:gd name="connsiteX0" fmla="*/ 128376 w 128376"/>
                <a:gd name="connsiteY0" fmla="*/ 0 h 55973"/>
                <a:gd name="connsiteX1" fmla="*/ 0 w 128376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5973">
                  <a:moveTo>
                    <a:pt x="128376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1" name="Freeform: Shape 760">
              <a:extLst>
                <a:ext uri="{FF2B5EF4-FFF2-40B4-BE49-F238E27FC236}">
                  <a16:creationId xmlns:a16="http://schemas.microsoft.com/office/drawing/2014/main" id="{910269FF-9AC5-40CC-B961-315C984E5874}"/>
                </a:ext>
              </a:extLst>
            </p:cNvPr>
            <p:cNvSpPr/>
            <p:nvPr/>
          </p:nvSpPr>
          <p:spPr>
            <a:xfrm>
              <a:off x="3863547" y="4003661"/>
              <a:ext cx="128098" cy="64327"/>
            </a:xfrm>
            <a:custGeom>
              <a:avLst/>
              <a:gdLst>
                <a:gd name="connsiteX0" fmla="*/ 128098 w 128098"/>
                <a:gd name="connsiteY0" fmla="*/ 0 h 64327"/>
                <a:gd name="connsiteX1" fmla="*/ 0 w 128098"/>
                <a:gd name="connsiteY1" fmla="*/ 64327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64327">
                  <a:moveTo>
                    <a:pt x="128098" y="0"/>
                  </a:moveTo>
                  <a:lnTo>
                    <a:pt x="0" y="643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2" name="Freeform: Shape 761">
              <a:extLst>
                <a:ext uri="{FF2B5EF4-FFF2-40B4-BE49-F238E27FC236}">
                  <a16:creationId xmlns:a16="http://schemas.microsoft.com/office/drawing/2014/main" id="{1B80CAF7-9797-4E8D-A363-BB50771864CD}"/>
                </a:ext>
              </a:extLst>
            </p:cNvPr>
            <p:cNvSpPr/>
            <p:nvPr/>
          </p:nvSpPr>
          <p:spPr>
            <a:xfrm>
              <a:off x="6146477" y="1771414"/>
              <a:ext cx="128376" cy="45391"/>
            </a:xfrm>
            <a:custGeom>
              <a:avLst/>
              <a:gdLst>
                <a:gd name="connsiteX0" fmla="*/ 128377 w 128376"/>
                <a:gd name="connsiteY0" fmla="*/ 0 h 45391"/>
                <a:gd name="connsiteX1" fmla="*/ 0 w 128376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391">
                  <a:moveTo>
                    <a:pt x="128377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3" name="Freeform: Shape 762">
              <a:extLst>
                <a:ext uri="{FF2B5EF4-FFF2-40B4-BE49-F238E27FC236}">
                  <a16:creationId xmlns:a16="http://schemas.microsoft.com/office/drawing/2014/main" id="{12112CA1-5284-4693-A6C9-FA1740455AD6}"/>
                </a:ext>
              </a:extLst>
            </p:cNvPr>
            <p:cNvSpPr/>
            <p:nvPr/>
          </p:nvSpPr>
          <p:spPr>
            <a:xfrm>
              <a:off x="8654135" y="5399094"/>
              <a:ext cx="128376" cy="21442"/>
            </a:xfrm>
            <a:custGeom>
              <a:avLst/>
              <a:gdLst>
                <a:gd name="connsiteX0" fmla="*/ 128377 w 128376"/>
                <a:gd name="connsiteY0" fmla="*/ 0 h 21442"/>
                <a:gd name="connsiteX1" fmla="*/ 0 w 128376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1442">
                  <a:moveTo>
                    <a:pt x="128377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4" name="Freeform: Shape 763">
              <a:extLst>
                <a:ext uri="{FF2B5EF4-FFF2-40B4-BE49-F238E27FC236}">
                  <a16:creationId xmlns:a16="http://schemas.microsoft.com/office/drawing/2014/main" id="{280D4AA7-5B02-4462-95F2-02B7C48EF773}"/>
                </a:ext>
              </a:extLst>
            </p:cNvPr>
            <p:cNvSpPr/>
            <p:nvPr/>
          </p:nvSpPr>
          <p:spPr>
            <a:xfrm>
              <a:off x="6376496" y="1779490"/>
              <a:ext cx="128098" cy="34809"/>
            </a:xfrm>
            <a:custGeom>
              <a:avLst/>
              <a:gdLst>
                <a:gd name="connsiteX0" fmla="*/ 128098 w 128098"/>
                <a:gd name="connsiteY0" fmla="*/ 0 h 34809"/>
                <a:gd name="connsiteX1" fmla="*/ 0 w 128098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4809">
                  <a:moveTo>
                    <a:pt x="128098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5" name="Freeform: Shape 764">
              <a:extLst>
                <a:ext uri="{FF2B5EF4-FFF2-40B4-BE49-F238E27FC236}">
                  <a16:creationId xmlns:a16="http://schemas.microsoft.com/office/drawing/2014/main" id="{D5553F84-2DA6-46A3-9B3E-579FDE844CD1}"/>
                </a:ext>
              </a:extLst>
            </p:cNvPr>
            <p:cNvSpPr/>
            <p:nvPr/>
          </p:nvSpPr>
          <p:spPr>
            <a:xfrm>
              <a:off x="6600946" y="4011737"/>
              <a:ext cx="128376" cy="56251"/>
            </a:xfrm>
            <a:custGeom>
              <a:avLst/>
              <a:gdLst>
                <a:gd name="connsiteX0" fmla="*/ 128376 w 128376"/>
                <a:gd name="connsiteY0" fmla="*/ 0 h 56251"/>
                <a:gd name="connsiteX1" fmla="*/ 0 w 128376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6251">
                  <a:moveTo>
                    <a:pt x="128376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6" name="Freeform: Shape 765">
              <a:extLst>
                <a:ext uri="{FF2B5EF4-FFF2-40B4-BE49-F238E27FC236}">
                  <a16:creationId xmlns:a16="http://schemas.microsoft.com/office/drawing/2014/main" id="{3127DB3B-291A-4090-A622-B85BF927C881}"/>
                </a:ext>
              </a:extLst>
            </p:cNvPr>
            <p:cNvSpPr/>
            <p:nvPr/>
          </p:nvSpPr>
          <p:spPr>
            <a:xfrm>
              <a:off x="1131161" y="1993358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7" name="Freeform: Shape 766">
              <a:extLst>
                <a:ext uri="{FF2B5EF4-FFF2-40B4-BE49-F238E27FC236}">
                  <a16:creationId xmlns:a16="http://schemas.microsoft.com/office/drawing/2014/main" id="{D499860A-6B5F-4CE5-AFC9-E94290B818A7}"/>
                </a:ext>
              </a:extLst>
            </p:cNvPr>
            <p:cNvSpPr/>
            <p:nvPr/>
          </p:nvSpPr>
          <p:spPr>
            <a:xfrm>
              <a:off x="6600946" y="1790072"/>
              <a:ext cx="128376" cy="26733"/>
            </a:xfrm>
            <a:custGeom>
              <a:avLst/>
              <a:gdLst>
                <a:gd name="connsiteX0" fmla="*/ 128376 w 128376"/>
                <a:gd name="connsiteY0" fmla="*/ 0 h 26733"/>
                <a:gd name="connsiteX1" fmla="*/ 0 w 128376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6733">
                  <a:moveTo>
                    <a:pt x="128376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8" name="Freeform: Shape 767">
              <a:extLst>
                <a:ext uri="{FF2B5EF4-FFF2-40B4-BE49-F238E27FC236}">
                  <a16:creationId xmlns:a16="http://schemas.microsoft.com/office/drawing/2014/main" id="{27B79879-E8A5-4436-84F0-3CC783289BA2}"/>
                </a:ext>
              </a:extLst>
            </p:cNvPr>
            <p:cNvSpPr/>
            <p:nvPr/>
          </p:nvSpPr>
          <p:spPr>
            <a:xfrm>
              <a:off x="6146477" y="2191074"/>
              <a:ext cx="123085" cy="80200"/>
            </a:xfrm>
            <a:custGeom>
              <a:avLst/>
              <a:gdLst>
                <a:gd name="connsiteX0" fmla="*/ 123085 w 123085"/>
                <a:gd name="connsiteY0" fmla="*/ 0 h 80200"/>
                <a:gd name="connsiteX1" fmla="*/ 0 w 123085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200">
                  <a:moveTo>
                    <a:pt x="123085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9" name="Freeform: Shape 768">
              <a:extLst>
                <a:ext uri="{FF2B5EF4-FFF2-40B4-BE49-F238E27FC236}">
                  <a16:creationId xmlns:a16="http://schemas.microsoft.com/office/drawing/2014/main" id="{336B7BB3-90B8-49A1-860D-C09F4CA6F81F}"/>
                </a:ext>
              </a:extLst>
            </p:cNvPr>
            <p:cNvSpPr/>
            <p:nvPr/>
          </p:nvSpPr>
          <p:spPr>
            <a:xfrm>
              <a:off x="7969646" y="2191074"/>
              <a:ext cx="123085" cy="74909"/>
            </a:xfrm>
            <a:custGeom>
              <a:avLst/>
              <a:gdLst>
                <a:gd name="connsiteX0" fmla="*/ 123086 w 123085"/>
                <a:gd name="connsiteY0" fmla="*/ 0 h 74909"/>
                <a:gd name="connsiteX1" fmla="*/ 0 w 123085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74909">
                  <a:moveTo>
                    <a:pt x="123086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0" name="Freeform: Shape 769">
              <a:extLst>
                <a:ext uri="{FF2B5EF4-FFF2-40B4-BE49-F238E27FC236}">
                  <a16:creationId xmlns:a16="http://schemas.microsoft.com/office/drawing/2014/main" id="{A46DC48E-393C-48F6-99C1-FFCE261590B5}"/>
                </a:ext>
              </a:extLst>
            </p:cNvPr>
            <p:cNvSpPr/>
            <p:nvPr/>
          </p:nvSpPr>
          <p:spPr>
            <a:xfrm>
              <a:off x="4093288" y="3792578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1" name="Freeform: Shape 770">
              <a:extLst>
                <a:ext uri="{FF2B5EF4-FFF2-40B4-BE49-F238E27FC236}">
                  <a16:creationId xmlns:a16="http://schemas.microsoft.com/office/drawing/2014/main" id="{47C9C6B7-4D1E-4FC3-B04D-09338F5607EB}"/>
                </a:ext>
              </a:extLst>
            </p:cNvPr>
            <p:cNvSpPr/>
            <p:nvPr/>
          </p:nvSpPr>
          <p:spPr>
            <a:xfrm>
              <a:off x="5461988" y="3797869"/>
              <a:ext cx="128376" cy="42884"/>
            </a:xfrm>
            <a:custGeom>
              <a:avLst/>
              <a:gdLst>
                <a:gd name="connsiteX0" fmla="*/ 128376 w 128376"/>
                <a:gd name="connsiteY0" fmla="*/ 0 h 42884"/>
                <a:gd name="connsiteX1" fmla="*/ 0 w 12837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2884">
                  <a:moveTo>
                    <a:pt x="128376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2" name="Freeform: Shape 771">
              <a:extLst>
                <a:ext uri="{FF2B5EF4-FFF2-40B4-BE49-F238E27FC236}">
                  <a16:creationId xmlns:a16="http://schemas.microsoft.com/office/drawing/2014/main" id="{AE72390A-FFA7-4D85-AF5C-AF90BF520BEC}"/>
                </a:ext>
              </a:extLst>
            </p:cNvPr>
            <p:cNvSpPr/>
            <p:nvPr/>
          </p:nvSpPr>
          <p:spPr>
            <a:xfrm>
              <a:off x="3863547" y="3797869"/>
              <a:ext cx="128098" cy="45391"/>
            </a:xfrm>
            <a:custGeom>
              <a:avLst/>
              <a:gdLst>
                <a:gd name="connsiteX0" fmla="*/ 128098 w 128098"/>
                <a:gd name="connsiteY0" fmla="*/ 0 h 45391"/>
                <a:gd name="connsiteX1" fmla="*/ 0 w 128098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45391">
                  <a:moveTo>
                    <a:pt x="128098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3" name="Freeform: Shape 772">
              <a:extLst>
                <a:ext uri="{FF2B5EF4-FFF2-40B4-BE49-F238E27FC236}">
                  <a16:creationId xmlns:a16="http://schemas.microsoft.com/office/drawing/2014/main" id="{3A275139-70E0-4279-96C6-5E8ECBB711FB}"/>
                </a:ext>
              </a:extLst>
            </p:cNvPr>
            <p:cNvSpPr/>
            <p:nvPr/>
          </p:nvSpPr>
          <p:spPr>
            <a:xfrm>
              <a:off x="6146477" y="3800654"/>
              <a:ext cx="128376" cy="40100"/>
            </a:xfrm>
            <a:custGeom>
              <a:avLst/>
              <a:gdLst>
                <a:gd name="connsiteX0" fmla="*/ 128377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7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4" name="Freeform: Shape 773">
              <a:extLst>
                <a:ext uri="{FF2B5EF4-FFF2-40B4-BE49-F238E27FC236}">
                  <a16:creationId xmlns:a16="http://schemas.microsoft.com/office/drawing/2014/main" id="{9DBC5978-9C7A-4411-8562-BA9E8BF67A53}"/>
                </a:ext>
              </a:extLst>
            </p:cNvPr>
            <p:cNvSpPr/>
            <p:nvPr/>
          </p:nvSpPr>
          <p:spPr>
            <a:xfrm>
              <a:off x="3409078" y="3126747"/>
              <a:ext cx="128098" cy="40100"/>
            </a:xfrm>
            <a:custGeom>
              <a:avLst/>
              <a:gdLst>
                <a:gd name="connsiteX0" fmla="*/ 128098 w 128098"/>
                <a:gd name="connsiteY0" fmla="*/ 0 h 40100"/>
                <a:gd name="connsiteX1" fmla="*/ 0 w 12809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40100">
                  <a:moveTo>
                    <a:pt x="128098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5" name="Freeform: Shape 774">
              <a:extLst>
                <a:ext uri="{FF2B5EF4-FFF2-40B4-BE49-F238E27FC236}">
                  <a16:creationId xmlns:a16="http://schemas.microsoft.com/office/drawing/2014/main" id="{B4844093-B3A4-4504-900A-505988E4B736}"/>
                </a:ext>
              </a:extLst>
            </p:cNvPr>
            <p:cNvSpPr/>
            <p:nvPr/>
          </p:nvSpPr>
          <p:spPr>
            <a:xfrm>
              <a:off x="2954608" y="3142898"/>
              <a:ext cx="128098" cy="23948"/>
            </a:xfrm>
            <a:custGeom>
              <a:avLst/>
              <a:gdLst>
                <a:gd name="connsiteX0" fmla="*/ 128098 w 128098"/>
                <a:gd name="connsiteY0" fmla="*/ 0 h 23948"/>
                <a:gd name="connsiteX1" fmla="*/ 0 w 128098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23948">
                  <a:moveTo>
                    <a:pt x="128098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6" name="Freeform: Shape 775">
              <a:extLst>
                <a:ext uri="{FF2B5EF4-FFF2-40B4-BE49-F238E27FC236}">
                  <a16:creationId xmlns:a16="http://schemas.microsoft.com/office/drawing/2014/main" id="{59995E2B-A339-4D4A-926A-2D285E37374B}"/>
                </a:ext>
              </a:extLst>
            </p:cNvPr>
            <p:cNvSpPr/>
            <p:nvPr/>
          </p:nvSpPr>
          <p:spPr>
            <a:xfrm>
              <a:off x="2724589" y="3153480"/>
              <a:ext cx="128376" cy="16151"/>
            </a:xfrm>
            <a:custGeom>
              <a:avLst/>
              <a:gdLst>
                <a:gd name="connsiteX0" fmla="*/ 128376 w 128376"/>
                <a:gd name="connsiteY0" fmla="*/ 0 h 16151"/>
                <a:gd name="connsiteX1" fmla="*/ 0 w 128376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16151">
                  <a:moveTo>
                    <a:pt x="128376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7" name="Freeform: Shape 776">
              <a:extLst>
                <a:ext uri="{FF2B5EF4-FFF2-40B4-BE49-F238E27FC236}">
                  <a16:creationId xmlns:a16="http://schemas.microsoft.com/office/drawing/2014/main" id="{6EB28D88-79DD-4122-A8A6-615465083D12}"/>
                </a:ext>
              </a:extLst>
            </p:cNvPr>
            <p:cNvSpPr/>
            <p:nvPr/>
          </p:nvSpPr>
          <p:spPr>
            <a:xfrm>
              <a:off x="7285435" y="5161278"/>
              <a:ext cx="128098" cy="32024"/>
            </a:xfrm>
            <a:custGeom>
              <a:avLst/>
              <a:gdLst>
                <a:gd name="connsiteX0" fmla="*/ 128098 w 128098"/>
                <a:gd name="connsiteY0" fmla="*/ 0 h 32024"/>
                <a:gd name="connsiteX1" fmla="*/ 0 w 128098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2024">
                  <a:moveTo>
                    <a:pt x="128098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8" name="Freeform: Shape 777">
              <a:extLst>
                <a:ext uri="{FF2B5EF4-FFF2-40B4-BE49-F238E27FC236}">
                  <a16:creationId xmlns:a16="http://schemas.microsoft.com/office/drawing/2014/main" id="{8681A99B-60ED-4932-A0EA-9C1A96BCE774}"/>
                </a:ext>
              </a:extLst>
            </p:cNvPr>
            <p:cNvSpPr/>
            <p:nvPr/>
          </p:nvSpPr>
          <p:spPr>
            <a:xfrm>
              <a:off x="5692007" y="3805945"/>
              <a:ext cx="128376" cy="34809"/>
            </a:xfrm>
            <a:custGeom>
              <a:avLst/>
              <a:gdLst>
                <a:gd name="connsiteX0" fmla="*/ 128377 w 128376"/>
                <a:gd name="connsiteY0" fmla="*/ 0 h 34809"/>
                <a:gd name="connsiteX1" fmla="*/ 0 w 12837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4809">
                  <a:moveTo>
                    <a:pt x="128377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9" name="Freeform: Shape 778">
              <a:extLst>
                <a:ext uri="{FF2B5EF4-FFF2-40B4-BE49-F238E27FC236}">
                  <a16:creationId xmlns:a16="http://schemas.microsoft.com/office/drawing/2014/main" id="{6CBF838D-3ED3-4020-B16A-95D5F954CD7E}"/>
                </a:ext>
              </a:extLst>
            </p:cNvPr>
            <p:cNvSpPr/>
            <p:nvPr/>
          </p:nvSpPr>
          <p:spPr>
            <a:xfrm>
              <a:off x="2949039" y="2140392"/>
              <a:ext cx="88276" cy="125591"/>
            </a:xfrm>
            <a:custGeom>
              <a:avLst/>
              <a:gdLst>
                <a:gd name="connsiteX0" fmla="*/ 88276 w 88276"/>
                <a:gd name="connsiteY0" fmla="*/ 0 h 125591"/>
                <a:gd name="connsiteX1" fmla="*/ 0 w 8827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5591">
                  <a:moveTo>
                    <a:pt x="88276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0" name="Freeform: Shape 779">
              <a:extLst>
                <a:ext uri="{FF2B5EF4-FFF2-40B4-BE49-F238E27FC236}">
                  <a16:creationId xmlns:a16="http://schemas.microsoft.com/office/drawing/2014/main" id="{5B91CDAB-1915-4AEB-8436-B4207AC6EF1E}"/>
                </a:ext>
              </a:extLst>
            </p:cNvPr>
            <p:cNvSpPr/>
            <p:nvPr/>
          </p:nvSpPr>
          <p:spPr>
            <a:xfrm>
              <a:off x="4777777" y="448105"/>
              <a:ext cx="128376" cy="18657"/>
            </a:xfrm>
            <a:custGeom>
              <a:avLst/>
              <a:gdLst>
                <a:gd name="connsiteX0" fmla="*/ 128377 w 128376"/>
                <a:gd name="connsiteY0" fmla="*/ 0 h 18657"/>
                <a:gd name="connsiteX1" fmla="*/ 0 w 128376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18657">
                  <a:moveTo>
                    <a:pt x="128377" y="0"/>
                  </a:moveTo>
                  <a:lnTo>
                    <a:pt x="0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1" name="Freeform: Shape 780">
              <a:extLst>
                <a:ext uri="{FF2B5EF4-FFF2-40B4-BE49-F238E27FC236}">
                  <a16:creationId xmlns:a16="http://schemas.microsoft.com/office/drawing/2014/main" id="{BB90A0E2-2AFD-4850-A96F-836A8231F62D}"/>
                </a:ext>
              </a:extLst>
            </p:cNvPr>
            <p:cNvSpPr/>
            <p:nvPr/>
          </p:nvSpPr>
          <p:spPr>
            <a:xfrm>
              <a:off x="3638819" y="4014522"/>
              <a:ext cx="128376" cy="50682"/>
            </a:xfrm>
            <a:custGeom>
              <a:avLst/>
              <a:gdLst>
                <a:gd name="connsiteX0" fmla="*/ 128377 w 128376"/>
                <a:gd name="connsiteY0" fmla="*/ 0 h 50682"/>
                <a:gd name="connsiteX1" fmla="*/ 0 w 128376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0682">
                  <a:moveTo>
                    <a:pt x="128377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2" name="Freeform: Shape 781">
              <a:extLst>
                <a:ext uri="{FF2B5EF4-FFF2-40B4-BE49-F238E27FC236}">
                  <a16:creationId xmlns:a16="http://schemas.microsoft.com/office/drawing/2014/main" id="{0EEE56D0-49AF-4165-899A-578AC5471795}"/>
                </a:ext>
              </a:extLst>
            </p:cNvPr>
            <p:cNvSpPr/>
            <p:nvPr/>
          </p:nvSpPr>
          <p:spPr>
            <a:xfrm>
              <a:off x="6146477" y="1560331"/>
              <a:ext cx="128376" cy="32024"/>
            </a:xfrm>
            <a:custGeom>
              <a:avLst/>
              <a:gdLst>
                <a:gd name="connsiteX0" fmla="*/ 128377 w 128376"/>
                <a:gd name="connsiteY0" fmla="*/ 0 h 32024"/>
                <a:gd name="connsiteX1" fmla="*/ 0 w 128376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2024">
                  <a:moveTo>
                    <a:pt x="128377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3" name="Freeform: Shape 782">
              <a:extLst>
                <a:ext uri="{FF2B5EF4-FFF2-40B4-BE49-F238E27FC236}">
                  <a16:creationId xmlns:a16="http://schemas.microsoft.com/office/drawing/2014/main" id="{1BC99E9D-C7EE-4910-B00B-A5D1C8B08A0B}"/>
                </a:ext>
              </a:extLst>
            </p:cNvPr>
            <p:cNvSpPr/>
            <p:nvPr/>
          </p:nvSpPr>
          <p:spPr>
            <a:xfrm>
              <a:off x="7969646" y="5391297"/>
              <a:ext cx="128376" cy="26733"/>
            </a:xfrm>
            <a:custGeom>
              <a:avLst/>
              <a:gdLst>
                <a:gd name="connsiteX0" fmla="*/ 128376 w 128376"/>
                <a:gd name="connsiteY0" fmla="*/ 0 h 26733"/>
                <a:gd name="connsiteX1" fmla="*/ 0 w 128376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6733">
                  <a:moveTo>
                    <a:pt x="128376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4" name="Freeform: Shape 783">
              <a:extLst>
                <a:ext uri="{FF2B5EF4-FFF2-40B4-BE49-F238E27FC236}">
                  <a16:creationId xmlns:a16="http://schemas.microsoft.com/office/drawing/2014/main" id="{9B27E940-9C8F-4436-BCDA-F44AE98EFBBD}"/>
                </a:ext>
              </a:extLst>
            </p:cNvPr>
            <p:cNvSpPr/>
            <p:nvPr/>
          </p:nvSpPr>
          <p:spPr>
            <a:xfrm>
              <a:off x="5916457" y="4230896"/>
              <a:ext cx="128376" cy="61542"/>
            </a:xfrm>
            <a:custGeom>
              <a:avLst/>
              <a:gdLst>
                <a:gd name="connsiteX0" fmla="*/ 128376 w 128376"/>
                <a:gd name="connsiteY0" fmla="*/ 0 h 61542"/>
                <a:gd name="connsiteX1" fmla="*/ 0 w 128376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1542">
                  <a:moveTo>
                    <a:pt x="128376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5" name="Freeform: Shape 784">
              <a:extLst>
                <a:ext uri="{FF2B5EF4-FFF2-40B4-BE49-F238E27FC236}">
                  <a16:creationId xmlns:a16="http://schemas.microsoft.com/office/drawing/2014/main" id="{296150F1-900F-4D81-BD47-5FCC2981219A}"/>
                </a:ext>
              </a:extLst>
            </p:cNvPr>
            <p:cNvSpPr/>
            <p:nvPr/>
          </p:nvSpPr>
          <p:spPr>
            <a:xfrm>
              <a:off x="9113895" y="4923461"/>
              <a:ext cx="128376" cy="45391"/>
            </a:xfrm>
            <a:custGeom>
              <a:avLst/>
              <a:gdLst>
                <a:gd name="connsiteX0" fmla="*/ 128376 w 128376"/>
                <a:gd name="connsiteY0" fmla="*/ 0 h 45391"/>
                <a:gd name="connsiteX1" fmla="*/ 0 w 128376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391">
                  <a:moveTo>
                    <a:pt x="128376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6" name="Freeform: Shape 785">
              <a:extLst>
                <a:ext uri="{FF2B5EF4-FFF2-40B4-BE49-F238E27FC236}">
                  <a16:creationId xmlns:a16="http://schemas.microsoft.com/office/drawing/2014/main" id="{47C48FC7-F46B-431B-8FAA-4BFF0C01875C}"/>
                </a:ext>
              </a:extLst>
            </p:cNvPr>
            <p:cNvSpPr/>
            <p:nvPr/>
          </p:nvSpPr>
          <p:spPr>
            <a:xfrm>
              <a:off x="671400" y="1544179"/>
              <a:ext cx="128376" cy="48175"/>
            </a:xfrm>
            <a:custGeom>
              <a:avLst/>
              <a:gdLst>
                <a:gd name="connsiteX0" fmla="*/ 128377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7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7" name="Freeform: Shape 786">
              <a:extLst>
                <a:ext uri="{FF2B5EF4-FFF2-40B4-BE49-F238E27FC236}">
                  <a16:creationId xmlns:a16="http://schemas.microsoft.com/office/drawing/2014/main" id="{D0A518DB-9A04-4555-9097-CA8600415FB9}"/>
                </a:ext>
              </a:extLst>
            </p:cNvPr>
            <p:cNvSpPr/>
            <p:nvPr/>
          </p:nvSpPr>
          <p:spPr>
            <a:xfrm>
              <a:off x="8199665" y="5388512"/>
              <a:ext cx="128376" cy="29518"/>
            </a:xfrm>
            <a:custGeom>
              <a:avLst/>
              <a:gdLst>
                <a:gd name="connsiteX0" fmla="*/ 128377 w 128376"/>
                <a:gd name="connsiteY0" fmla="*/ 0 h 29518"/>
                <a:gd name="connsiteX1" fmla="*/ 0 w 12837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9518">
                  <a:moveTo>
                    <a:pt x="128377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8" name="Freeform: Shape 787">
              <a:extLst>
                <a:ext uri="{FF2B5EF4-FFF2-40B4-BE49-F238E27FC236}">
                  <a16:creationId xmlns:a16="http://schemas.microsoft.com/office/drawing/2014/main" id="{FB845F9A-4608-4835-936B-AFFEC34E6900}"/>
                </a:ext>
              </a:extLst>
            </p:cNvPr>
            <p:cNvSpPr/>
            <p:nvPr/>
          </p:nvSpPr>
          <p:spPr>
            <a:xfrm>
              <a:off x="3409078" y="4236187"/>
              <a:ext cx="128098" cy="56251"/>
            </a:xfrm>
            <a:custGeom>
              <a:avLst/>
              <a:gdLst>
                <a:gd name="connsiteX0" fmla="*/ 128098 w 128098"/>
                <a:gd name="connsiteY0" fmla="*/ 0 h 56251"/>
                <a:gd name="connsiteX1" fmla="*/ 0 w 128098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56251">
                  <a:moveTo>
                    <a:pt x="128098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9" name="Freeform: Shape 788">
              <a:extLst>
                <a:ext uri="{FF2B5EF4-FFF2-40B4-BE49-F238E27FC236}">
                  <a16:creationId xmlns:a16="http://schemas.microsoft.com/office/drawing/2014/main" id="{A85F9DA2-E679-4296-A6A7-A212061BE76B}"/>
                </a:ext>
              </a:extLst>
            </p:cNvPr>
            <p:cNvSpPr/>
            <p:nvPr/>
          </p:nvSpPr>
          <p:spPr>
            <a:xfrm>
              <a:off x="6830966" y="5158493"/>
              <a:ext cx="128098" cy="34809"/>
            </a:xfrm>
            <a:custGeom>
              <a:avLst/>
              <a:gdLst>
                <a:gd name="connsiteX0" fmla="*/ 128098 w 128098"/>
                <a:gd name="connsiteY0" fmla="*/ 0 h 34809"/>
                <a:gd name="connsiteX1" fmla="*/ 0 w 128098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4809">
                  <a:moveTo>
                    <a:pt x="128098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0" name="Freeform: Shape 789">
              <a:extLst>
                <a:ext uri="{FF2B5EF4-FFF2-40B4-BE49-F238E27FC236}">
                  <a16:creationId xmlns:a16="http://schemas.microsoft.com/office/drawing/2014/main" id="{3F3E6453-077E-40DA-8421-0EE4C5DC3364}"/>
                </a:ext>
              </a:extLst>
            </p:cNvPr>
            <p:cNvSpPr/>
            <p:nvPr/>
          </p:nvSpPr>
          <p:spPr>
            <a:xfrm>
              <a:off x="3409078" y="3821818"/>
              <a:ext cx="128098" cy="21442"/>
            </a:xfrm>
            <a:custGeom>
              <a:avLst/>
              <a:gdLst>
                <a:gd name="connsiteX0" fmla="*/ 128098 w 128098"/>
                <a:gd name="connsiteY0" fmla="*/ 0 h 21442"/>
                <a:gd name="connsiteX1" fmla="*/ 0 w 128098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21442">
                  <a:moveTo>
                    <a:pt x="128098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1" name="Freeform: Shape 790">
              <a:extLst>
                <a:ext uri="{FF2B5EF4-FFF2-40B4-BE49-F238E27FC236}">
                  <a16:creationId xmlns:a16="http://schemas.microsoft.com/office/drawing/2014/main" id="{C30C2C3F-0EA1-4A84-99BE-801C9D1DD7E6}"/>
                </a:ext>
              </a:extLst>
            </p:cNvPr>
            <p:cNvSpPr/>
            <p:nvPr/>
          </p:nvSpPr>
          <p:spPr>
            <a:xfrm>
              <a:off x="446950" y="1095001"/>
              <a:ext cx="128376" cy="45669"/>
            </a:xfrm>
            <a:custGeom>
              <a:avLst/>
              <a:gdLst>
                <a:gd name="connsiteX0" fmla="*/ 128377 w 128376"/>
                <a:gd name="connsiteY0" fmla="*/ 0 h 45669"/>
                <a:gd name="connsiteX1" fmla="*/ 0 w 128376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669">
                  <a:moveTo>
                    <a:pt x="128377" y="0"/>
                  </a:moveTo>
                  <a:lnTo>
                    <a:pt x="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2" name="Freeform: Shape 791">
              <a:extLst>
                <a:ext uri="{FF2B5EF4-FFF2-40B4-BE49-F238E27FC236}">
                  <a16:creationId xmlns:a16="http://schemas.microsoft.com/office/drawing/2014/main" id="{DBE09E64-68AA-4ACA-9C1C-327A6261BC10}"/>
                </a:ext>
              </a:extLst>
            </p:cNvPr>
            <p:cNvSpPr/>
            <p:nvPr/>
          </p:nvSpPr>
          <p:spPr>
            <a:xfrm>
              <a:off x="5461988" y="1108367"/>
              <a:ext cx="128376" cy="32302"/>
            </a:xfrm>
            <a:custGeom>
              <a:avLst/>
              <a:gdLst>
                <a:gd name="connsiteX0" fmla="*/ 128376 w 128376"/>
                <a:gd name="connsiteY0" fmla="*/ 0 h 32302"/>
                <a:gd name="connsiteX1" fmla="*/ 0 w 128376"/>
                <a:gd name="connsiteY1" fmla="*/ 32303 h 3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2302">
                  <a:moveTo>
                    <a:pt x="128376" y="0"/>
                  </a:moveTo>
                  <a:lnTo>
                    <a:pt x="0" y="323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3" name="Freeform: Shape 792">
              <a:extLst>
                <a:ext uri="{FF2B5EF4-FFF2-40B4-BE49-F238E27FC236}">
                  <a16:creationId xmlns:a16="http://schemas.microsoft.com/office/drawing/2014/main" id="{EC349E61-19CD-444C-9F43-0F53C8A714D1}"/>
                </a:ext>
              </a:extLst>
            </p:cNvPr>
            <p:cNvSpPr/>
            <p:nvPr/>
          </p:nvSpPr>
          <p:spPr>
            <a:xfrm>
              <a:off x="6830966" y="5380437"/>
              <a:ext cx="128098" cy="37593"/>
            </a:xfrm>
            <a:custGeom>
              <a:avLst/>
              <a:gdLst>
                <a:gd name="connsiteX0" fmla="*/ 128098 w 128098"/>
                <a:gd name="connsiteY0" fmla="*/ 0 h 37593"/>
                <a:gd name="connsiteX1" fmla="*/ 0 w 128098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7593">
                  <a:moveTo>
                    <a:pt x="128098" y="0"/>
                  </a:moveTo>
                  <a:lnTo>
                    <a:pt x="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4" name="Freeform: Shape 793">
              <a:extLst>
                <a:ext uri="{FF2B5EF4-FFF2-40B4-BE49-F238E27FC236}">
                  <a16:creationId xmlns:a16="http://schemas.microsoft.com/office/drawing/2014/main" id="{0FCD9F73-0595-40F8-9D86-3DACBA49262B}"/>
                </a:ext>
              </a:extLst>
            </p:cNvPr>
            <p:cNvSpPr/>
            <p:nvPr/>
          </p:nvSpPr>
          <p:spPr>
            <a:xfrm>
              <a:off x="2954608" y="4690657"/>
              <a:ext cx="125591" cy="56251"/>
            </a:xfrm>
            <a:custGeom>
              <a:avLst/>
              <a:gdLst>
                <a:gd name="connsiteX0" fmla="*/ 125592 w 125591"/>
                <a:gd name="connsiteY0" fmla="*/ 0 h 56251"/>
                <a:gd name="connsiteX1" fmla="*/ 0 w 125591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6251">
                  <a:moveTo>
                    <a:pt x="125592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5" name="Freeform: Shape 794">
              <a:extLst>
                <a:ext uri="{FF2B5EF4-FFF2-40B4-BE49-F238E27FC236}">
                  <a16:creationId xmlns:a16="http://schemas.microsoft.com/office/drawing/2014/main" id="{DDF16BC8-35CA-4ED4-9732-C427DC4B6E78}"/>
                </a:ext>
              </a:extLst>
            </p:cNvPr>
            <p:cNvSpPr/>
            <p:nvPr/>
          </p:nvSpPr>
          <p:spPr>
            <a:xfrm>
              <a:off x="5916457" y="5292160"/>
              <a:ext cx="88276" cy="128376"/>
            </a:xfrm>
            <a:custGeom>
              <a:avLst/>
              <a:gdLst>
                <a:gd name="connsiteX0" fmla="*/ 88276 w 88276"/>
                <a:gd name="connsiteY0" fmla="*/ 0 h 128376"/>
                <a:gd name="connsiteX1" fmla="*/ 0 w 88276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8376">
                  <a:moveTo>
                    <a:pt x="88276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6" name="Freeform: Shape 795">
              <a:extLst>
                <a:ext uri="{FF2B5EF4-FFF2-40B4-BE49-F238E27FC236}">
                  <a16:creationId xmlns:a16="http://schemas.microsoft.com/office/drawing/2014/main" id="{176EC54A-187C-42E0-8C33-D7B0634E19BF}"/>
                </a:ext>
              </a:extLst>
            </p:cNvPr>
            <p:cNvSpPr/>
            <p:nvPr/>
          </p:nvSpPr>
          <p:spPr>
            <a:xfrm>
              <a:off x="6146477" y="4247048"/>
              <a:ext cx="128376" cy="45391"/>
            </a:xfrm>
            <a:custGeom>
              <a:avLst/>
              <a:gdLst>
                <a:gd name="connsiteX0" fmla="*/ 128377 w 128376"/>
                <a:gd name="connsiteY0" fmla="*/ 0 h 45391"/>
                <a:gd name="connsiteX1" fmla="*/ 0 w 128376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391">
                  <a:moveTo>
                    <a:pt x="128377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7" name="Freeform: Shape 796">
              <a:extLst>
                <a:ext uri="{FF2B5EF4-FFF2-40B4-BE49-F238E27FC236}">
                  <a16:creationId xmlns:a16="http://schemas.microsoft.com/office/drawing/2014/main" id="{F339C8D5-2B3C-4DB1-8280-F2BAC725BEEB}"/>
                </a:ext>
              </a:extLst>
            </p:cNvPr>
            <p:cNvSpPr/>
            <p:nvPr/>
          </p:nvSpPr>
          <p:spPr>
            <a:xfrm>
              <a:off x="9338345" y="4455625"/>
              <a:ext cx="128376" cy="61264"/>
            </a:xfrm>
            <a:custGeom>
              <a:avLst/>
              <a:gdLst>
                <a:gd name="connsiteX0" fmla="*/ 128376 w 128376"/>
                <a:gd name="connsiteY0" fmla="*/ 0 h 61264"/>
                <a:gd name="connsiteX1" fmla="*/ 0 w 128376"/>
                <a:gd name="connsiteY1" fmla="*/ 61264 h 61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1264">
                  <a:moveTo>
                    <a:pt x="128376" y="0"/>
                  </a:moveTo>
                  <a:lnTo>
                    <a:pt x="0" y="612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8" name="Freeform: Shape 797">
              <a:extLst>
                <a:ext uri="{FF2B5EF4-FFF2-40B4-BE49-F238E27FC236}">
                  <a16:creationId xmlns:a16="http://schemas.microsoft.com/office/drawing/2014/main" id="{FE397364-A6C6-41F3-A018-919B4775FF4C}"/>
                </a:ext>
              </a:extLst>
            </p:cNvPr>
            <p:cNvSpPr/>
            <p:nvPr/>
          </p:nvSpPr>
          <p:spPr>
            <a:xfrm>
              <a:off x="6376496" y="1988067"/>
              <a:ext cx="128098" cy="53467"/>
            </a:xfrm>
            <a:custGeom>
              <a:avLst/>
              <a:gdLst>
                <a:gd name="connsiteX0" fmla="*/ 128098 w 128098"/>
                <a:gd name="connsiteY0" fmla="*/ 0 h 53467"/>
                <a:gd name="connsiteX1" fmla="*/ 0 w 128098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53467">
                  <a:moveTo>
                    <a:pt x="128098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9" name="Freeform: Shape 798">
              <a:extLst>
                <a:ext uri="{FF2B5EF4-FFF2-40B4-BE49-F238E27FC236}">
                  <a16:creationId xmlns:a16="http://schemas.microsoft.com/office/drawing/2014/main" id="{DAD66497-9C06-45EC-AF1B-66729D3392EA}"/>
                </a:ext>
              </a:extLst>
            </p:cNvPr>
            <p:cNvSpPr/>
            <p:nvPr/>
          </p:nvSpPr>
          <p:spPr>
            <a:xfrm>
              <a:off x="3179058" y="4252339"/>
              <a:ext cx="128376" cy="40100"/>
            </a:xfrm>
            <a:custGeom>
              <a:avLst/>
              <a:gdLst>
                <a:gd name="connsiteX0" fmla="*/ 128376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6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0" name="Freeform: Shape 799">
              <a:extLst>
                <a:ext uri="{FF2B5EF4-FFF2-40B4-BE49-F238E27FC236}">
                  <a16:creationId xmlns:a16="http://schemas.microsoft.com/office/drawing/2014/main" id="{C087B3AD-8598-4B55-B902-3E5EA8135CD0}"/>
                </a:ext>
              </a:extLst>
            </p:cNvPr>
            <p:cNvSpPr/>
            <p:nvPr/>
          </p:nvSpPr>
          <p:spPr>
            <a:xfrm>
              <a:off x="5232247" y="3343399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1" name="Freeform: Shape 800">
              <a:extLst>
                <a:ext uri="{FF2B5EF4-FFF2-40B4-BE49-F238E27FC236}">
                  <a16:creationId xmlns:a16="http://schemas.microsoft.com/office/drawing/2014/main" id="{77E999B8-B524-40CE-A210-F714E7C7BF4E}"/>
                </a:ext>
              </a:extLst>
            </p:cNvPr>
            <p:cNvSpPr/>
            <p:nvPr/>
          </p:nvSpPr>
          <p:spPr>
            <a:xfrm>
              <a:off x="6603731" y="5131759"/>
              <a:ext cx="125591" cy="61542"/>
            </a:xfrm>
            <a:custGeom>
              <a:avLst/>
              <a:gdLst>
                <a:gd name="connsiteX0" fmla="*/ 125592 w 125591"/>
                <a:gd name="connsiteY0" fmla="*/ 0 h 61542"/>
                <a:gd name="connsiteX1" fmla="*/ 0 w 125591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542">
                  <a:moveTo>
                    <a:pt x="125592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2" name="Freeform: Shape 801">
              <a:extLst>
                <a:ext uri="{FF2B5EF4-FFF2-40B4-BE49-F238E27FC236}">
                  <a16:creationId xmlns:a16="http://schemas.microsoft.com/office/drawing/2014/main" id="{C9198C4A-7EFA-41DF-B83C-95C3ECAC4194}"/>
                </a:ext>
              </a:extLst>
            </p:cNvPr>
            <p:cNvSpPr/>
            <p:nvPr/>
          </p:nvSpPr>
          <p:spPr>
            <a:xfrm>
              <a:off x="6830966" y="4942119"/>
              <a:ext cx="128098" cy="26733"/>
            </a:xfrm>
            <a:custGeom>
              <a:avLst/>
              <a:gdLst>
                <a:gd name="connsiteX0" fmla="*/ 128098 w 128098"/>
                <a:gd name="connsiteY0" fmla="*/ 0 h 26733"/>
                <a:gd name="connsiteX1" fmla="*/ 0 w 128098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26733">
                  <a:moveTo>
                    <a:pt x="128098" y="0"/>
                  </a:moveTo>
                  <a:lnTo>
                    <a:pt x="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3" name="Freeform: Shape 802">
              <a:extLst>
                <a:ext uri="{FF2B5EF4-FFF2-40B4-BE49-F238E27FC236}">
                  <a16:creationId xmlns:a16="http://schemas.microsoft.com/office/drawing/2014/main" id="{26F8875B-3DBE-4FFD-8371-770E07A7FBFB}"/>
                </a:ext>
              </a:extLst>
            </p:cNvPr>
            <p:cNvSpPr/>
            <p:nvPr/>
          </p:nvSpPr>
          <p:spPr>
            <a:xfrm>
              <a:off x="4777777" y="3348690"/>
              <a:ext cx="128376" cy="42884"/>
            </a:xfrm>
            <a:custGeom>
              <a:avLst/>
              <a:gdLst>
                <a:gd name="connsiteX0" fmla="*/ 128377 w 128376"/>
                <a:gd name="connsiteY0" fmla="*/ 0 h 42884"/>
                <a:gd name="connsiteX1" fmla="*/ 0 w 12837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2884">
                  <a:moveTo>
                    <a:pt x="128377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4" name="Freeform: Shape 803">
              <a:extLst>
                <a:ext uri="{FF2B5EF4-FFF2-40B4-BE49-F238E27FC236}">
                  <a16:creationId xmlns:a16="http://schemas.microsoft.com/office/drawing/2014/main" id="{5E2028B0-838F-4D62-9ACF-9B14605D47F9}"/>
                </a:ext>
              </a:extLst>
            </p:cNvPr>
            <p:cNvSpPr/>
            <p:nvPr/>
          </p:nvSpPr>
          <p:spPr>
            <a:xfrm>
              <a:off x="4547758" y="3353981"/>
              <a:ext cx="128376" cy="40100"/>
            </a:xfrm>
            <a:custGeom>
              <a:avLst/>
              <a:gdLst>
                <a:gd name="connsiteX0" fmla="*/ 128376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6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5" name="Freeform: Shape 804">
              <a:extLst>
                <a:ext uri="{FF2B5EF4-FFF2-40B4-BE49-F238E27FC236}">
                  <a16:creationId xmlns:a16="http://schemas.microsoft.com/office/drawing/2014/main" id="{560C03A8-F4EE-4C0D-A59D-C998014F7EEC}"/>
                </a:ext>
              </a:extLst>
            </p:cNvPr>
            <p:cNvSpPr/>
            <p:nvPr/>
          </p:nvSpPr>
          <p:spPr>
            <a:xfrm>
              <a:off x="6146477" y="4038471"/>
              <a:ext cx="128376" cy="29518"/>
            </a:xfrm>
            <a:custGeom>
              <a:avLst/>
              <a:gdLst>
                <a:gd name="connsiteX0" fmla="*/ 128377 w 128376"/>
                <a:gd name="connsiteY0" fmla="*/ 0 h 29518"/>
                <a:gd name="connsiteX1" fmla="*/ 0 w 12837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9518">
                  <a:moveTo>
                    <a:pt x="128377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6" name="Freeform: Shape 805">
              <a:extLst>
                <a:ext uri="{FF2B5EF4-FFF2-40B4-BE49-F238E27FC236}">
                  <a16:creationId xmlns:a16="http://schemas.microsoft.com/office/drawing/2014/main" id="{91E7D4ED-A820-4C86-8841-2C8759ED0EC1}"/>
                </a:ext>
              </a:extLst>
            </p:cNvPr>
            <p:cNvSpPr/>
            <p:nvPr/>
          </p:nvSpPr>
          <p:spPr>
            <a:xfrm>
              <a:off x="9792815" y="4038471"/>
              <a:ext cx="128376" cy="29518"/>
            </a:xfrm>
            <a:custGeom>
              <a:avLst/>
              <a:gdLst>
                <a:gd name="connsiteX0" fmla="*/ 128376 w 128376"/>
                <a:gd name="connsiteY0" fmla="*/ 0 h 29518"/>
                <a:gd name="connsiteX1" fmla="*/ 0 w 12837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9518">
                  <a:moveTo>
                    <a:pt x="128376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7" name="Freeform: Shape 806">
              <a:extLst>
                <a:ext uri="{FF2B5EF4-FFF2-40B4-BE49-F238E27FC236}">
                  <a16:creationId xmlns:a16="http://schemas.microsoft.com/office/drawing/2014/main" id="{39099C21-9926-4548-841E-1230E166F6B4}"/>
                </a:ext>
              </a:extLst>
            </p:cNvPr>
            <p:cNvSpPr/>
            <p:nvPr/>
          </p:nvSpPr>
          <p:spPr>
            <a:xfrm>
              <a:off x="4093288" y="3589292"/>
              <a:ext cx="128376" cy="29518"/>
            </a:xfrm>
            <a:custGeom>
              <a:avLst/>
              <a:gdLst>
                <a:gd name="connsiteX0" fmla="*/ 128376 w 128376"/>
                <a:gd name="connsiteY0" fmla="*/ 0 h 29518"/>
                <a:gd name="connsiteX1" fmla="*/ 0 w 12837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9518">
                  <a:moveTo>
                    <a:pt x="128376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8" name="Freeform: Shape 807">
              <a:extLst>
                <a:ext uri="{FF2B5EF4-FFF2-40B4-BE49-F238E27FC236}">
                  <a16:creationId xmlns:a16="http://schemas.microsoft.com/office/drawing/2014/main" id="{B800B08C-EF03-4E04-99ED-7695F17241F5}"/>
                </a:ext>
              </a:extLst>
            </p:cNvPr>
            <p:cNvSpPr/>
            <p:nvPr/>
          </p:nvSpPr>
          <p:spPr>
            <a:xfrm>
              <a:off x="3636312" y="5064926"/>
              <a:ext cx="85491" cy="128376"/>
            </a:xfrm>
            <a:custGeom>
              <a:avLst/>
              <a:gdLst>
                <a:gd name="connsiteX0" fmla="*/ 85492 w 85491"/>
                <a:gd name="connsiteY0" fmla="*/ 0 h 128376"/>
                <a:gd name="connsiteX1" fmla="*/ 0 w 85491"/>
                <a:gd name="connsiteY1" fmla="*/ 128376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128376">
                  <a:moveTo>
                    <a:pt x="85492" y="0"/>
                  </a:moveTo>
                  <a:lnTo>
                    <a:pt x="0" y="1283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9" name="Freeform: Shape 808">
              <a:extLst>
                <a:ext uri="{FF2B5EF4-FFF2-40B4-BE49-F238E27FC236}">
                  <a16:creationId xmlns:a16="http://schemas.microsoft.com/office/drawing/2014/main" id="{9A64ABF9-C7BF-47BC-86F4-B715326D922D}"/>
                </a:ext>
              </a:extLst>
            </p:cNvPr>
            <p:cNvSpPr/>
            <p:nvPr/>
          </p:nvSpPr>
          <p:spPr>
            <a:xfrm>
              <a:off x="9792815" y="3584001"/>
              <a:ext cx="128376" cy="34809"/>
            </a:xfrm>
            <a:custGeom>
              <a:avLst/>
              <a:gdLst>
                <a:gd name="connsiteX0" fmla="*/ 128376 w 128376"/>
                <a:gd name="connsiteY0" fmla="*/ 0 h 34809"/>
                <a:gd name="connsiteX1" fmla="*/ 0 w 12837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4809">
                  <a:moveTo>
                    <a:pt x="128376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0" name="Freeform: Shape 809">
              <a:extLst>
                <a:ext uri="{FF2B5EF4-FFF2-40B4-BE49-F238E27FC236}">
                  <a16:creationId xmlns:a16="http://schemas.microsoft.com/office/drawing/2014/main" id="{B22A37DD-ACB9-455F-B617-C75E276577C6}"/>
                </a:ext>
              </a:extLst>
            </p:cNvPr>
            <p:cNvSpPr/>
            <p:nvPr/>
          </p:nvSpPr>
          <p:spPr>
            <a:xfrm>
              <a:off x="4547758" y="3584001"/>
              <a:ext cx="128376" cy="34809"/>
            </a:xfrm>
            <a:custGeom>
              <a:avLst/>
              <a:gdLst>
                <a:gd name="connsiteX0" fmla="*/ 128376 w 128376"/>
                <a:gd name="connsiteY0" fmla="*/ 0 h 34809"/>
                <a:gd name="connsiteX1" fmla="*/ 0 w 12837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4809">
                  <a:moveTo>
                    <a:pt x="128376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1" name="Freeform: Shape 810">
              <a:extLst>
                <a:ext uri="{FF2B5EF4-FFF2-40B4-BE49-F238E27FC236}">
                  <a16:creationId xmlns:a16="http://schemas.microsoft.com/office/drawing/2014/main" id="{89765450-9E86-4F0B-BEA6-83C5084870D2}"/>
                </a:ext>
              </a:extLst>
            </p:cNvPr>
            <p:cNvSpPr/>
            <p:nvPr/>
          </p:nvSpPr>
          <p:spPr>
            <a:xfrm>
              <a:off x="4323308" y="3584001"/>
              <a:ext cx="128376" cy="32024"/>
            </a:xfrm>
            <a:custGeom>
              <a:avLst/>
              <a:gdLst>
                <a:gd name="connsiteX0" fmla="*/ 128376 w 128376"/>
                <a:gd name="connsiteY0" fmla="*/ 0 h 32024"/>
                <a:gd name="connsiteX1" fmla="*/ 0 w 128376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2024">
                  <a:moveTo>
                    <a:pt x="128376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2" name="Freeform: Shape 811">
              <a:extLst>
                <a:ext uri="{FF2B5EF4-FFF2-40B4-BE49-F238E27FC236}">
                  <a16:creationId xmlns:a16="http://schemas.microsoft.com/office/drawing/2014/main" id="{A4AA01EE-0751-47E5-8298-D67157F70496}"/>
                </a:ext>
              </a:extLst>
            </p:cNvPr>
            <p:cNvSpPr/>
            <p:nvPr/>
          </p:nvSpPr>
          <p:spPr>
            <a:xfrm>
              <a:off x="3179058" y="4043762"/>
              <a:ext cx="128376" cy="24227"/>
            </a:xfrm>
            <a:custGeom>
              <a:avLst/>
              <a:gdLst>
                <a:gd name="connsiteX0" fmla="*/ 128376 w 128376"/>
                <a:gd name="connsiteY0" fmla="*/ 0 h 24227"/>
                <a:gd name="connsiteX1" fmla="*/ 0 w 128376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4227">
                  <a:moveTo>
                    <a:pt x="128376" y="0"/>
                  </a:moveTo>
                  <a:lnTo>
                    <a:pt x="0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3" name="Freeform: Shape 812">
              <a:extLst>
                <a:ext uri="{FF2B5EF4-FFF2-40B4-BE49-F238E27FC236}">
                  <a16:creationId xmlns:a16="http://schemas.microsoft.com/office/drawing/2014/main" id="{A2FF5423-8EC9-4AA7-9346-DBC3CF0AAC79}"/>
                </a:ext>
              </a:extLst>
            </p:cNvPr>
            <p:cNvSpPr/>
            <p:nvPr/>
          </p:nvSpPr>
          <p:spPr>
            <a:xfrm>
              <a:off x="5916457" y="1971915"/>
              <a:ext cx="128376" cy="69618"/>
            </a:xfrm>
            <a:custGeom>
              <a:avLst/>
              <a:gdLst>
                <a:gd name="connsiteX0" fmla="*/ 128376 w 128376"/>
                <a:gd name="connsiteY0" fmla="*/ 0 h 69618"/>
                <a:gd name="connsiteX1" fmla="*/ 0 w 128376"/>
                <a:gd name="connsiteY1" fmla="*/ 69619 h 6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9618">
                  <a:moveTo>
                    <a:pt x="128376" y="0"/>
                  </a:moveTo>
                  <a:lnTo>
                    <a:pt x="0" y="696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4" name="Freeform: Shape 813">
              <a:extLst>
                <a:ext uri="{FF2B5EF4-FFF2-40B4-BE49-F238E27FC236}">
                  <a16:creationId xmlns:a16="http://schemas.microsoft.com/office/drawing/2014/main" id="{9B4B156B-08FA-4922-98F1-2F37565F0242}"/>
                </a:ext>
              </a:extLst>
            </p:cNvPr>
            <p:cNvSpPr/>
            <p:nvPr/>
          </p:nvSpPr>
          <p:spPr>
            <a:xfrm>
              <a:off x="9338345" y="4944625"/>
              <a:ext cx="128376" cy="24227"/>
            </a:xfrm>
            <a:custGeom>
              <a:avLst/>
              <a:gdLst>
                <a:gd name="connsiteX0" fmla="*/ 128376 w 128376"/>
                <a:gd name="connsiteY0" fmla="*/ 0 h 24227"/>
                <a:gd name="connsiteX1" fmla="*/ 0 w 128376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4227">
                  <a:moveTo>
                    <a:pt x="128376" y="0"/>
                  </a:moveTo>
                  <a:lnTo>
                    <a:pt x="0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5" name="Freeform: Shape 814">
              <a:extLst>
                <a:ext uri="{FF2B5EF4-FFF2-40B4-BE49-F238E27FC236}">
                  <a16:creationId xmlns:a16="http://schemas.microsoft.com/office/drawing/2014/main" id="{59BD69E3-02FA-46DE-B79D-0EFC270AC644}"/>
                </a:ext>
              </a:extLst>
            </p:cNvPr>
            <p:cNvSpPr/>
            <p:nvPr/>
          </p:nvSpPr>
          <p:spPr>
            <a:xfrm>
              <a:off x="3863547" y="4623823"/>
              <a:ext cx="101364" cy="123085"/>
            </a:xfrm>
            <a:custGeom>
              <a:avLst/>
              <a:gdLst>
                <a:gd name="connsiteX0" fmla="*/ 101365 w 101364"/>
                <a:gd name="connsiteY0" fmla="*/ 0 h 123085"/>
                <a:gd name="connsiteX1" fmla="*/ 0 w 101364"/>
                <a:gd name="connsiteY1" fmla="*/ 123086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123085">
                  <a:moveTo>
                    <a:pt x="101365" y="0"/>
                  </a:moveTo>
                  <a:lnTo>
                    <a:pt x="0" y="12308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6" name="Freeform: Shape 815">
              <a:extLst>
                <a:ext uri="{FF2B5EF4-FFF2-40B4-BE49-F238E27FC236}">
                  <a16:creationId xmlns:a16="http://schemas.microsoft.com/office/drawing/2014/main" id="{819C4A9B-D148-4014-9A02-5DE97B17F498}"/>
                </a:ext>
              </a:extLst>
            </p:cNvPr>
            <p:cNvSpPr/>
            <p:nvPr/>
          </p:nvSpPr>
          <p:spPr>
            <a:xfrm>
              <a:off x="6370927" y="3551976"/>
              <a:ext cx="128376" cy="66833"/>
            </a:xfrm>
            <a:custGeom>
              <a:avLst/>
              <a:gdLst>
                <a:gd name="connsiteX0" fmla="*/ 128376 w 128376"/>
                <a:gd name="connsiteY0" fmla="*/ 0 h 66833"/>
                <a:gd name="connsiteX1" fmla="*/ 0 w 128376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6833">
                  <a:moveTo>
                    <a:pt x="128376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7" name="Freeform: Shape 816">
              <a:extLst>
                <a:ext uri="{FF2B5EF4-FFF2-40B4-BE49-F238E27FC236}">
                  <a16:creationId xmlns:a16="http://schemas.microsoft.com/office/drawing/2014/main" id="{3137E24B-7B00-4B28-AD25-33AF5620E5BB}"/>
                </a:ext>
              </a:extLst>
            </p:cNvPr>
            <p:cNvSpPr/>
            <p:nvPr/>
          </p:nvSpPr>
          <p:spPr>
            <a:xfrm>
              <a:off x="5007518" y="3581216"/>
              <a:ext cx="128376" cy="34809"/>
            </a:xfrm>
            <a:custGeom>
              <a:avLst/>
              <a:gdLst>
                <a:gd name="connsiteX0" fmla="*/ 128377 w 128376"/>
                <a:gd name="connsiteY0" fmla="*/ 0 h 34809"/>
                <a:gd name="connsiteX1" fmla="*/ 0 w 12837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4809">
                  <a:moveTo>
                    <a:pt x="128377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8" name="Freeform: Shape 817">
              <a:extLst>
                <a:ext uri="{FF2B5EF4-FFF2-40B4-BE49-F238E27FC236}">
                  <a16:creationId xmlns:a16="http://schemas.microsoft.com/office/drawing/2014/main" id="{554F7040-2FB2-4C9E-B067-6E6509DCFECF}"/>
                </a:ext>
              </a:extLst>
            </p:cNvPr>
            <p:cNvSpPr/>
            <p:nvPr/>
          </p:nvSpPr>
          <p:spPr>
            <a:xfrm>
              <a:off x="2270119" y="2923739"/>
              <a:ext cx="128376" cy="18657"/>
            </a:xfrm>
            <a:custGeom>
              <a:avLst/>
              <a:gdLst>
                <a:gd name="connsiteX0" fmla="*/ 128376 w 128376"/>
                <a:gd name="connsiteY0" fmla="*/ 0 h 18657"/>
                <a:gd name="connsiteX1" fmla="*/ 0 w 128376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18657">
                  <a:moveTo>
                    <a:pt x="128376" y="0"/>
                  </a:moveTo>
                  <a:lnTo>
                    <a:pt x="0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9" name="Freeform: Shape 818">
              <a:extLst>
                <a:ext uri="{FF2B5EF4-FFF2-40B4-BE49-F238E27FC236}">
                  <a16:creationId xmlns:a16="http://schemas.microsoft.com/office/drawing/2014/main" id="{2D4451D1-69EA-4782-A2D6-937FD6BF9ADB}"/>
                </a:ext>
              </a:extLst>
            </p:cNvPr>
            <p:cNvSpPr/>
            <p:nvPr/>
          </p:nvSpPr>
          <p:spPr>
            <a:xfrm>
              <a:off x="5916457" y="1341172"/>
              <a:ext cx="128376" cy="26733"/>
            </a:xfrm>
            <a:custGeom>
              <a:avLst/>
              <a:gdLst>
                <a:gd name="connsiteX0" fmla="*/ 128376 w 128376"/>
                <a:gd name="connsiteY0" fmla="*/ 0 h 26733"/>
                <a:gd name="connsiteX1" fmla="*/ 0 w 128376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6733">
                  <a:moveTo>
                    <a:pt x="128376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0" name="Freeform: Shape 819">
              <a:extLst>
                <a:ext uri="{FF2B5EF4-FFF2-40B4-BE49-F238E27FC236}">
                  <a16:creationId xmlns:a16="http://schemas.microsoft.com/office/drawing/2014/main" id="{8E1DD660-E11B-4803-AE82-4787002391D2}"/>
                </a:ext>
              </a:extLst>
            </p:cNvPr>
            <p:cNvSpPr/>
            <p:nvPr/>
          </p:nvSpPr>
          <p:spPr>
            <a:xfrm>
              <a:off x="5692007" y="1327805"/>
              <a:ext cx="128376" cy="37315"/>
            </a:xfrm>
            <a:custGeom>
              <a:avLst/>
              <a:gdLst>
                <a:gd name="connsiteX0" fmla="*/ 128377 w 128376"/>
                <a:gd name="connsiteY0" fmla="*/ 0 h 37315"/>
                <a:gd name="connsiteX1" fmla="*/ 0 w 128376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7315">
                  <a:moveTo>
                    <a:pt x="128377" y="0"/>
                  </a:moveTo>
                  <a:lnTo>
                    <a:pt x="0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1" name="Freeform: Shape 820">
              <a:extLst>
                <a:ext uri="{FF2B5EF4-FFF2-40B4-BE49-F238E27FC236}">
                  <a16:creationId xmlns:a16="http://schemas.microsoft.com/office/drawing/2014/main" id="{E764F2D1-BC92-40FC-ABCE-125FD3663B1B}"/>
                </a:ext>
              </a:extLst>
            </p:cNvPr>
            <p:cNvSpPr/>
            <p:nvPr/>
          </p:nvSpPr>
          <p:spPr>
            <a:xfrm>
              <a:off x="5461988" y="1314438"/>
              <a:ext cx="128376" cy="50682"/>
            </a:xfrm>
            <a:custGeom>
              <a:avLst/>
              <a:gdLst>
                <a:gd name="connsiteX0" fmla="*/ 128376 w 128376"/>
                <a:gd name="connsiteY0" fmla="*/ 0 h 50682"/>
                <a:gd name="connsiteX1" fmla="*/ 0 w 128376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0682">
                  <a:moveTo>
                    <a:pt x="128376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2" name="Freeform: Shape 821">
              <a:extLst>
                <a:ext uri="{FF2B5EF4-FFF2-40B4-BE49-F238E27FC236}">
                  <a16:creationId xmlns:a16="http://schemas.microsoft.com/office/drawing/2014/main" id="{7A2E7659-9B80-42B1-8610-6C56072121E7}"/>
                </a:ext>
              </a:extLst>
            </p:cNvPr>
            <p:cNvSpPr/>
            <p:nvPr/>
          </p:nvSpPr>
          <p:spPr>
            <a:xfrm>
              <a:off x="6830966" y="2003940"/>
              <a:ext cx="128098" cy="37593"/>
            </a:xfrm>
            <a:custGeom>
              <a:avLst/>
              <a:gdLst>
                <a:gd name="connsiteX0" fmla="*/ 128098 w 128098"/>
                <a:gd name="connsiteY0" fmla="*/ 0 h 37593"/>
                <a:gd name="connsiteX1" fmla="*/ 0 w 128098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7593">
                  <a:moveTo>
                    <a:pt x="128098" y="0"/>
                  </a:moveTo>
                  <a:lnTo>
                    <a:pt x="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3" name="Freeform: Shape 822">
              <a:extLst>
                <a:ext uri="{FF2B5EF4-FFF2-40B4-BE49-F238E27FC236}">
                  <a16:creationId xmlns:a16="http://schemas.microsoft.com/office/drawing/2014/main" id="{2A45E22A-BA67-4EC5-8643-F671036C53D8}"/>
                </a:ext>
              </a:extLst>
            </p:cNvPr>
            <p:cNvSpPr/>
            <p:nvPr/>
          </p:nvSpPr>
          <p:spPr>
            <a:xfrm>
              <a:off x="671400" y="1298287"/>
              <a:ext cx="128376" cy="66833"/>
            </a:xfrm>
            <a:custGeom>
              <a:avLst/>
              <a:gdLst>
                <a:gd name="connsiteX0" fmla="*/ 128377 w 128376"/>
                <a:gd name="connsiteY0" fmla="*/ 0 h 66833"/>
                <a:gd name="connsiteX1" fmla="*/ 0 w 128376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6833">
                  <a:moveTo>
                    <a:pt x="128377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4" name="Freeform: Shape 823">
              <a:extLst>
                <a:ext uri="{FF2B5EF4-FFF2-40B4-BE49-F238E27FC236}">
                  <a16:creationId xmlns:a16="http://schemas.microsoft.com/office/drawing/2014/main" id="{7FB1B3AD-4C81-4090-A771-4B3B19AE07AB}"/>
                </a:ext>
              </a:extLst>
            </p:cNvPr>
            <p:cNvSpPr/>
            <p:nvPr/>
          </p:nvSpPr>
          <p:spPr>
            <a:xfrm>
              <a:off x="5002227" y="1282135"/>
              <a:ext cx="123085" cy="85769"/>
            </a:xfrm>
            <a:custGeom>
              <a:avLst/>
              <a:gdLst>
                <a:gd name="connsiteX0" fmla="*/ 123085 w 123085"/>
                <a:gd name="connsiteY0" fmla="*/ 0 h 85769"/>
                <a:gd name="connsiteX1" fmla="*/ 0 w 123085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769">
                  <a:moveTo>
                    <a:pt x="123085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5" name="Freeform: Shape 824">
              <a:extLst>
                <a:ext uri="{FF2B5EF4-FFF2-40B4-BE49-F238E27FC236}">
                  <a16:creationId xmlns:a16="http://schemas.microsoft.com/office/drawing/2014/main" id="{89376F80-08BB-49F1-B1CA-BD35A973828B}"/>
                </a:ext>
              </a:extLst>
            </p:cNvPr>
            <p:cNvSpPr/>
            <p:nvPr/>
          </p:nvSpPr>
          <p:spPr>
            <a:xfrm>
              <a:off x="9341130" y="2661695"/>
              <a:ext cx="125591" cy="56251"/>
            </a:xfrm>
            <a:custGeom>
              <a:avLst/>
              <a:gdLst>
                <a:gd name="connsiteX0" fmla="*/ 125592 w 125591"/>
                <a:gd name="connsiteY0" fmla="*/ 0 h 56251"/>
                <a:gd name="connsiteX1" fmla="*/ 0 w 125591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6251">
                  <a:moveTo>
                    <a:pt x="125592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6" name="Freeform: Shape 825">
              <a:extLst>
                <a:ext uri="{FF2B5EF4-FFF2-40B4-BE49-F238E27FC236}">
                  <a16:creationId xmlns:a16="http://schemas.microsoft.com/office/drawing/2014/main" id="{E0C25A02-0172-48A9-927C-9F0C764EDF63}"/>
                </a:ext>
              </a:extLst>
            </p:cNvPr>
            <p:cNvSpPr/>
            <p:nvPr/>
          </p:nvSpPr>
          <p:spPr>
            <a:xfrm>
              <a:off x="9568365" y="2691213"/>
              <a:ext cx="128376" cy="26733"/>
            </a:xfrm>
            <a:custGeom>
              <a:avLst/>
              <a:gdLst>
                <a:gd name="connsiteX0" fmla="*/ 128377 w 128376"/>
                <a:gd name="connsiteY0" fmla="*/ 0 h 26733"/>
                <a:gd name="connsiteX1" fmla="*/ 0 w 128376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6733">
                  <a:moveTo>
                    <a:pt x="128377" y="0"/>
                  </a:moveTo>
                  <a:lnTo>
                    <a:pt x="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7" name="Freeform: Shape 826">
              <a:extLst>
                <a:ext uri="{FF2B5EF4-FFF2-40B4-BE49-F238E27FC236}">
                  <a16:creationId xmlns:a16="http://schemas.microsoft.com/office/drawing/2014/main" id="{1D8CF02A-AD94-41E1-94F6-C388234E91D9}"/>
                </a:ext>
              </a:extLst>
            </p:cNvPr>
            <p:cNvSpPr/>
            <p:nvPr/>
          </p:nvSpPr>
          <p:spPr>
            <a:xfrm>
              <a:off x="3636312" y="787565"/>
              <a:ext cx="80200" cy="128376"/>
            </a:xfrm>
            <a:custGeom>
              <a:avLst/>
              <a:gdLst>
                <a:gd name="connsiteX0" fmla="*/ 80200 w 80200"/>
                <a:gd name="connsiteY0" fmla="*/ 0 h 128376"/>
                <a:gd name="connsiteX1" fmla="*/ 0 w 80200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28376">
                  <a:moveTo>
                    <a:pt x="80200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8" name="Freeform: Shape 827">
              <a:extLst>
                <a:ext uri="{FF2B5EF4-FFF2-40B4-BE49-F238E27FC236}">
                  <a16:creationId xmlns:a16="http://schemas.microsoft.com/office/drawing/2014/main" id="{7A6D6192-B8A7-44DB-9105-781B511AFE9D}"/>
                </a:ext>
              </a:extLst>
            </p:cNvPr>
            <p:cNvSpPr/>
            <p:nvPr/>
          </p:nvSpPr>
          <p:spPr>
            <a:xfrm>
              <a:off x="3866053" y="1910372"/>
              <a:ext cx="80200" cy="128376"/>
            </a:xfrm>
            <a:custGeom>
              <a:avLst/>
              <a:gdLst>
                <a:gd name="connsiteX0" fmla="*/ 80200 w 80200"/>
                <a:gd name="connsiteY0" fmla="*/ 0 h 128376"/>
                <a:gd name="connsiteX1" fmla="*/ 0 w 80200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28376">
                  <a:moveTo>
                    <a:pt x="80200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9" name="Freeform: Shape 828">
              <a:extLst>
                <a:ext uri="{FF2B5EF4-FFF2-40B4-BE49-F238E27FC236}">
                  <a16:creationId xmlns:a16="http://schemas.microsoft.com/office/drawing/2014/main" id="{7F2D63CA-A474-46AD-B7B8-2CA08FD79E6C}"/>
                </a:ext>
              </a:extLst>
            </p:cNvPr>
            <p:cNvSpPr/>
            <p:nvPr/>
          </p:nvSpPr>
          <p:spPr>
            <a:xfrm>
              <a:off x="8881369" y="3936828"/>
              <a:ext cx="77415" cy="128376"/>
            </a:xfrm>
            <a:custGeom>
              <a:avLst/>
              <a:gdLst>
                <a:gd name="connsiteX0" fmla="*/ 77416 w 77415"/>
                <a:gd name="connsiteY0" fmla="*/ 0 h 128376"/>
                <a:gd name="connsiteX1" fmla="*/ 0 w 77415"/>
                <a:gd name="connsiteY1" fmla="*/ 128376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28376">
                  <a:moveTo>
                    <a:pt x="77416" y="0"/>
                  </a:moveTo>
                  <a:lnTo>
                    <a:pt x="0" y="1283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0" name="Freeform: Shape 829">
              <a:extLst>
                <a:ext uri="{FF2B5EF4-FFF2-40B4-BE49-F238E27FC236}">
                  <a16:creationId xmlns:a16="http://schemas.microsoft.com/office/drawing/2014/main" id="{33D253C5-9E62-4D91-860F-C857C53BA0FF}"/>
                </a:ext>
              </a:extLst>
            </p:cNvPr>
            <p:cNvSpPr/>
            <p:nvPr/>
          </p:nvSpPr>
          <p:spPr>
            <a:xfrm>
              <a:off x="6146477" y="3560052"/>
              <a:ext cx="128376" cy="55973"/>
            </a:xfrm>
            <a:custGeom>
              <a:avLst/>
              <a:gdLst>
                <a:gd name="connsiteX0" fmla="*/ 128377 w 128376"/>
                <a:gd name="connsiteY0" fmla="*/ 0 h 55973"/>
                <a:gd name="connsiteX1" fmla="*/ 0 w 128376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5973">
                  <a:moveTo>
                    <a:pt x="128377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1" name="Freeform: Shape 830">
              <a:extLst>
                <a:ext uri="{FF2B5EF4-FFF2-40B4-BE49-F238E27FC236}">
                  <a16:creationId xmlns:a16="http://schemas.microsoft.com/office/drawing/2014/main" id="{822C717B-6BC0-41E2-98DE-BC075D957CDE}"/>
                </a:ext>
              </a:extLst>
            </p:cNvPr>
            <p:cNvSpPr/>
            <p:nvPr/>
          </p:nvSpPr>
          <p:spPr>
            <a:xfrm>
              <a:off x="5916457" y="3567849"/>
              <a:ext cx="125870" cy="50960"/>
            </a:xfrm>
            <a:custGeom>
              <a:avLst/>
              <a:gdLst>
                <a:gd name="connsiteX0" fmla="*/ 125870 w 125870"/>
                <a:gd name="connsiteY0" fmla="*/ 0 h 50960"/>
                <a:gd name="connsiteX1" fmla="*/ 0 w 125870"/>
                <a:gd name="connsiteY1" fmla="*/ 50961 h 50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50960">
                  <a:moveTo>
                    <a:pt x="125870" y="0"/>
                  </a:moveTo>
                  <a:lnTo>
                    <a:pt x="0" y="509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2" name="Freeform: Shape 831">
              <a:extLst>
                <a:ext uri="{FF2B5EF4-FFF2-40B4-BE49-F238E27FC236}">
                  <a16:creationId xmlns:a16="http://schemas.microsoft.com/office/drawing/2014/main" id="{0CB06003-50C0-47C7-9A5C-FEF3F83D47F0}"/>
                </a:ext>
              </a:extLst>
            </p:cNvPr>
            <p:cNvSpPr/>
            <p:nvPr/>
          </p:nvSpPr>
          <p:spPr>
            <a:xfrm>
              <a:off x="1128654" y="1239529"/>
              <a:ext cx="88276" cy="125591"/>
            </a:xfrm>
            <a:custGeom>
              <a:avLst/>
              <a:gdLst>
                <a:gd name="connsiteX0" fmla="*/ 88276 w 88276"/>
                <a:gd name="connsiteY0" fmla="*/ 0 h 125591"/>
                <a:gd name="connsiteX1" fmla="*/ 0 w 8827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5591">
                  <a:moveTo>
                    <a:pt x="88276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3" name="Freeform: Shape 832">
              <a:extLst>
                <a:ext uri="{FF2B5EF4-FFF2-40B4-BE49-F238E27FC236}">
                  <a16:creationId xmlns:a16="http://schemas.microsoft.com/office/drawing/2014/main" id="{D3184FBD-030B-484B-B256-8BB610354FB6}"/>
                </a:ext>
              </a:extLst>
            </p:cNvPr>
            <p:cNvSpPr/>
            <p:nvPr/>
          </p:nvSpPr>
          <p:spPr>
            <a:xfrm>
              <a:off x="2040100" y="2680353"/>
              <a:ext cx="125870" cy="37593"/>
            </a:xfrm>
            <a:custGeom>
              <a:avLst/>
              <a:gdLst>
                <a:gd name="connsiteX0" fmla="*/ 125870 w 125870"/>
                <a:gd name="connsiteY0" fmla="*/ 0 h 37593"/>
                <a:gd name="connsiteX1" fmla="*/ 0 w 125870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37593">
                  <a:moveTo>
                    <a:pt x="125870" y="0"/>
                  </a:moveTo>
                  <a:lnTo>
                    <a:pt x="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4" name="Freeform: Shape 833">
              <a:extLst>
                <a:ext uri="{FF2B5EF4-FFF2-40B4-BE49-F238E27FC236}">
                  <a16:creationId xmlns:a16="http://schemas.microsoft.com/office/drawing/2014/main" id="{B23A078B-24F0-4296-A189-BA57D6D7FE7F}"/>
                </a:ext>
              </a:extLst>
            </p:cNvPr>
            <p:cNvSpPr/>
            <p:nvPr/>
          </p:nvSpPr>
          <p:spPr>
            <a:xfrm>
              <a:off x="5916457" y="5519395"/>
              <a:ext cx="82985" cy="125870"/>
            </a:xfrm>
            <a:custGeom>
              <a:avLst/>
              <a:gdLst>
                <a:gd name="connsiteX0" fmla="*/ 82985 w 82985"/>
                <a:gd name="connsiteY0" fmla="*/ 0 h 125870"/>
                <a:gd name="connsiteX1" fmla="*/ 0 w 82985"/>
                <a:gd name="connsiteY1" fmla="*/ 125870 h 12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25870">
                  <a:moveTo>
                    <a:pt x="82985" y="0"/>
                  </a:moveTo>
                  <a:lnTo>
                    <a:pt x="0" y="1258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5" name="Freeform: Shape 834">
              <a:extLst>
                <a:ext uri="{FF2B5EF4-FFF2-40B4-BE49-F238E27FC236}">
                  <a16:creationId xmlns:a16="http://schemas.microsoft.com/office/drawing/2014/main" id="{5E82F9A1-23AC-496D-8504-00D9A68B2840}"/>
                </a:ext>
              </a:extLst>
            </p:cNvPr>
            <p:cNvSpPr/>
            <p:nvPr/>
          </p:nvSpPr>
          <p:spPr>
            <a:xfrm>
              <a:off x="2272904" y="2664480"/>
              <a:ext cx="125591" cy="53467"/>
            </a:xfrm>
            <a:custGeom>
              <a:avLst/>
              <a:gdLst>
                <a:gd name="connsiteX0" fmla="*/ 125592 w 125591"/>
                <a:gd name="connsiteY0" fmla="*/ 0 h 53467"/>
                <a:gd name="connsiteX1" fmla="*/ 0 w 125591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3467">
                  <a:moveTo>
                    <a:pt x="125592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6" name="Freeform: Shape 835">
              <a:extLst>
                <a:ext uri="{FF2B5EF4-FFF2-40B4-BE49-F238E27FC236}">
                  <a16:creationId xmlns:a16="http://schemas.microsoft.com/office/drawing/2014/main" id="{8EE48908-5C7D-4C09-AD00-7C801A11980E}"/>
                </a:ext>
              </a:extLst>
            </p:cNvPr>
            <p:cNvSpPr/>
            <p:nvPr/>
          </p:nvSpPr>
          <p:spPr>
            <a:xfrm>
              <a:off x="3409078" y="4027888"/>
              <a:ext cx="125591" cy="40100"/>
            </a:xfrm>
            <a:custGeom>
              <a:avLst/>
              <a:gdLst>
                <a:gd name="connsiteX0" fmla="*/ 125592 w 125591"/>
                <a:gd name="connsiteY0" fmla="*/ 0 h 40100"/>
                <a:gd name="connsiteX1" fmla="*/ 0 w 125591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0100">
                  <a:moveTo>
                    <a:pt x="125592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7" name="Freeform: Shape 836">
              <a:extLst>
                <a:ext uri="{FF2B5EF4-FFF2-40B4-BE49-F238E27FC236}">
                  <a16:creationId xmlns:a16="http://schemas.microsoft.com/office/drawing/2014/main" id="{2318D114-3BA0-4E32-8B27-334A43DA5E6B}"/>
                </a:ext>
              </a:extLst>
            </p:cNvPr>
            <p:cNvSpPr/>
            <p:nvPr/>
          </p:nvSpPr>
          <p:spPr>
            <a:xfrm>
              <a:off x="5232247" y="1301071"/>
              <a:ext cx="125591" cy="64049"/>
            </a:xfrm>
            <a:custGeom>
              <a:avLst/>
              <a:gdLst>
                <a:gd name="connsiteX0" fmla="*/ 125592 w 125591"/>
                <a:gd name="connsiteY0" fmla="*/ 0 h 64049"/>
                <a:gd name="connsiteX1" fmla="*/ 0 w 125591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4049">
                  <a:moveTo>
                    <a:pt x="125592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8" name="Freeform: Shape 837">
              <a:extLst>
                <a:ext uri="{FF2B5EF4-FFF2-40B4-BE49-F238E27FC236}">
                  <a16:creationId xmlns:a16="http://schemas.microsoft.com/office/drawing/2014/main" id="{319DE2DD-DB94-4144-AD6F-3E132BB01483}"/>
                </a:ext>
              </a:extLst>
            </p:cNvPr>
            <p:cNvSpPr/>
            <p:nvPr/>
          </p:nvSpPr>
          <p:spPr>
            <a:xfrm>
              <a:off x="3636312" y="571191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9" name="Freeform: Shape 838">
              <a:extLst>
                <a:ext uri="{FF2B5EF4-FFF2-40B4-BE49-F238E27FC236}">
                  <a16:creationId xmlns:a16="http://schemas.microsoft.com/office/drawing/2014/main" id="{5B2E228E-4F2D-4B0B-9673-7B787C525D35}"/>
                </a:ext>
              </a:extLst>
            </p:cNvPr>
            <p:cNvSpPr/>
            <p:nvPr/>
          </p:nvSpPr>
          <p:spPr>
            <a:xfrm>
              <a:off x="7969646" y="2594861"/>
              <a:ext cx="88276" cy="125591"/>
            </a:xfrm>
            <a:custGeom>
              <a:avLst/>
              <a:gdLst>
                <a:gd name="connsiteX0" fmla="*/ 88277 w 88276"/>
                <a:gd name="connsiteY0" fmla="*/ 0 h 125591"/>
                <a:gd name="connsiteX1" fmla="*/ 0 w 8827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5591">
                  <a:moveTo>
                    <a:pt x="88277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0" name="Freeform: Shape 839">
              <a:extLst>
                <a:ext uri="{FF2B5EF4-FFF2-40B4-BE49-F238E27FC236}">
                  <a16:creationId xmlns:a16="http://schemas.microsoft.com/office/drawing/2014/main" id="{E9E4834A-F958-40F0-A427-A581394D232A}"/>
                </a:ext>
              </a:extLst>
            </p:cNvPr>
            <p:cNvSpPr/>
            <p:nvPr/>
          </p:nvSpPr>
          <p:spPr>
            <a:xfrm>
              <a:off x="5232247" y="3987788"/>
              <a:ext cx="122807" cy="80200"/>
            </a:xfrm>
            <a:custGeom>
              <a:avLst/>
              <a:gdLst>
                <a:gd name="connsiteX0" fmla="*/ 122807 w 122807"/>
                <a:gd name="connsiteY0" fmla="*/ 0 h 80200"/>
                <a:gd name="connsiteX1" fmla="*/ 0 w 122807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200">
                  <a:moveTo>
                    <a:pt x="122807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3" name="Freeform: Shape 842">
              <a:extLst>
                <a:ext uri="{FF2B5EF4-FFF2-40B4-BE49-F238E27FC236}">
                  <a16:creationId xmlns:a16="http://schemas.microsoft.com/office/drawing/2014/main" id="{BFBE3954-C153-45ED-BF01-91C0A6FF810F}"/>
                </a:ext>
              </a:extLst>
            </p:cNvPr>
            <p:cNvSpPr/>
            <p:nvPr/>
          </p:nvSpPr>
          <p:spPr>
            <a:xfrm>
              <a:off x="903926" y="2020091"/>
              <a:ext cx="125870" cy="23948"/>
            </a:xfrm>
            <a:custGeom>
              <a:avLst/>
              <a:gdLst>
                <a:gd name="connsiteX0" fmla="*/ 125870 w 125870"/>
                <a:gd name="connsiteY0" fmla="*/ 0 h 23948"/>
                <a:gd name="connsiteX1" fmla="*/ 0 w 125870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23948">
                  <a:moveTo>
                    <a:pt x="125870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4" name="Freeform: Shape 843">
              <a:extLst>
                <a:ext uri="{FF2B5EF4-FFF2-40B4-BE49-F238E27FC236}">
                  <a16:creationId xmlns:a16="http://schemas.microsoft.com/office/drawing/2014/main" id="{9ECEB798-42BA-42DA-BE7A-A7C198357BCA}"/>
                </a:ext>
              </a:extLst>
            </p:cNvPr>
            <p:cNvSpPr/>
            <p:nvPr/>
          </p:nvSpPr>
          <p:spPr>
            <a:xfrm>
              <a:off x="5686716" y="1961333"/>
              <a:ext cx="122807" cy="80200"/>
            </a:xfrm>
            <a:custGeom>
              <a:avLst/>
              <a:gdLst>
                <a:gd name="connsiteX0" fmla="*/ 122807 w 122807"/>
                <a:gd name="connsiteY0" fmla="*/ 0 h 80200"/>
                <a:gd name="connsiteX1" fmla="*/ 0 w 122807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200">
                  <a:moveTo>
                    <a:pt x="122807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5" name="Freeform: Shape 844">
              <a:extLst>
                <a:ext uri="{FF2B5EF4-FFF2-40B4-BE49-F238E27FC236}">
                  <a16:creationId xmlns:a16="http://schemas.microsoft.com/office/drawing/2014/main" id="{26A9A330-461C-4E3E-B042-E055533A2DE3}"/>
                </a:ext>
              </a:extLst>
            </p:cNvPr>
            <p:cNvSpPr/>
            <p:nvPr/>
          </p:nvSpPr>
          <p:spPr>
            <a:xfrm>
              <a:off x="5002227" y="3982219"/>
              <a:ext cx="123085" cy="85769"/>
            </a:xfrm>
            <a:custGeom>
              <a:avLst/>
              <a:gdLst>
                <a:gd name="connsiteX0" fmla="*/ 123085 w 123085"/>
                <a:gd name="connsiteY0" fmla="*/ 0 h 85769"/>
                <a:gd name="connsiteX1" fmla="*/ 0 w 123085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769">
                  <a:moveTo>
                    <a:pt x="123085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6" name="Freeform: Shape 845">
              <a:extLst>
                <a:ext uri="{FF2B5EF4-FFF2-40B4-BE49-F238E27FC236}">
                  <a16:creationId xmlns:a16="http://schemas.microsoft.com/office/drawing/2014/main" id="{F10DB981-A4EF-48B9-A004-4B9C39CA9149}"/>
                </a:ext>
              </a:extLst>
            </p:cNvPr>
            <p:cNvSpPr/>
            <p:nvPr/>
          </p:nvSpPr>
          <p:spPr>
            <a:xfrm>
              <a:off x="6376496" y="4471498"/>
              <a:ext cx="122807" cy="50960"/>
            </a:xfrm>
            <a:custGeom>
              <a:avLst/>
              <a:gdLst>
                <a:gd name="connsiteX0" fmla="*/ 122807 w 122807"/>
                <a:gd name="connsiteY0" fmla="*/ 0 h 50960"/>
                <a:gd name="connsiteX1" fmla="*/ 0 w 122807"/>
                <a:gd name="connsiteY1" fmla="*/ 50961 h 50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50960">
                  <a:moveTo>
                    <a:pt x="122807" y="0"/>
                  </a:moveTo>
                  <a:lnTo>
                    <a:pt x="0" y="509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7" name="Freeform: Shape 846">
              <a:extLst>
                <a:ext uri="{FF2B5EF4-FFF2-40B4-BE49-F238E27FC236}">
                  <a16:creationId xmlns:a16="http://schemas.microsoft.com/office/drawing/2014/main" id="{A74CC0C5-04FF-49A0-8BDF-D9874A0A41F0}"/>
                </a:ext>
              </a:extLst>
            </p:cNvPr>
            <p:cNvSpPr/>
            <p:nvPr/>
          </p:nvSpPr>
          <p:spPr>
            <a:xfrm>
              <a:off x="2727373" y="2899512"/>
              <a:ext cx="125591" cy="42884"/>
            </a:xfrm>
            <a:custGeom>
              <a:avLst/>
              <a:gdLst>
                <a:gd name="connsiteX0" fmla="*/ 125592 w 125591"/>
                <a:gd name="connsiteY0" fmla="*/ 0 h 42884"/>
                <a:gd name="connsiteX1" fmla="*/ 0 w 12559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2884">
                  <a:moveTo>
                    <a:pt x="125592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8" name="Freeform: Shape 847">
              <a:extLst>
                <a:ext uri="{FF2B5EF4-FFF2-40B4-BE49-F238E27FC236}">
                  <a16:creationId xmlns:a16="http://schemas.microsoft.com/office/drawing/2014/main" id="{A9CAECF2-43C5-4A79-8FCD-D721ACBAB3D3}"/>
                </a:ext>
              </a:extLst>
            </p:cNvPr>
            <p:cNvSpPr/>
            <p:nvPr/>
          </p:nvSpPr>
          <p:spPr>
            <a:xfrm>
              <a:off x="2957114" y="2886145"/>
              <a:ext cx="125591" cy="56251"/>
            </a:xfrm>
            <a:custGeom>
              <a:avLst/>
              <a:gdLst>
                <a:gd name="connsiteX0" fmla="*/ 125592 w 125591"/>
                <a:gd name="connsiteY0" fmla="*/ 0 h 56251"/>
                <a:gd name="connsiteX1" fmla="*/ 0 w 125591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6251">
                  <a:moveTo>
                    <a:pt x="125592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9" name="Freeform: Shape 848">
              <a:extLst>
                <a:ext uri="{FF2B5EF4-FFF2-40B4-BE49-F238E27FC236}">
                  <a16:creationId xmlns:a16="http://schemas.microsoft.com/office/drawing/2014/main" id="{C02A0EBE-B554-42E8-A205-C2220F7E413F}"/>
                </a:ext>
              </a:extLst>
            </p:cNvPr>
            <p:cNvSpPr/>
            <p:nvPr/>
          </p:nvSpPr>
          <p:spPr>
            <a:xfrm>
              <a:off x="5461988" y="3578710"/>
              <a:ext cx="125870" cy="37315"/>
            </a:xfrm>
            <a:custGeom>
              <a:avLst/>
              <a:gdLst>
                <a:gd name="connsiteX0" fmla="*/ 125870 w 125870"/>
                <a:gd name="connsiteY0" fmla="*/ 0 h 37315"/>
                <a:gd name="connsiteX1" fmla="*/ 0 w 125870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37315">
                  <a:moveTo>
                    <a:pt x="125870" y="0"/>
                  </a:moveTo>
                  <a:lnTo>
                    <a:pt x="0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0" name="Freeform: Shape 849">
              <a:extLst>
                <a:ext uri="{FF2B5EF4-FFF2-40B4-BE49-F238E27FC236}">
                  <a16:creationId xmlns:a16="http://schemas.microsoft.com/office/drawing/2014/main" id="{A921E1FF-D664-4E10-B9EA-294842D7BFB6}"/>
                </a:ext>
              </a:extLst>
            </p:cNvPr>
            <p:cNvSpPr/>
            <p:nvPr/>
          </p:nvSpPr>
          <p:spPr>
            <a:xfrm>
              <a:off x="4093288" y="4616026"/>
              <a:ext cx="82985" cy="125591"/>
            </a:xfrm>
            <a:custGeom>
              <a:avLst/>
              <a:gdLst>
                <a:gd name="connsiteX0" fmla="*/ 82985 w 82985"/>
                <a:gd name="connsiteY0" fmla="*/ 0 h 125591"/>
                <a:gd name="connsiteX1" fmla="*/ 0 w 82985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25591">
                  <a:moveTo>
                    <a:pt x="82985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1" name="Freeform: Shape 850">
              <a:extLst>
                <a:ext uri="{FF2B5EF4-FFF2-40B4-BE49-F238E27FC236}">
                  <a16:creationId xmlns:a16="http://schemas.microsoft.com/office/drawing/2014/main" id="{2E2DB411-82BC-4BE0-B96F-6E754C30A6AB}"/>
                </a:ext>
              </a:extLst>
            </p:cNvPr>
            <p:cNvSpPr/>
            <p:nvPr/>
          </p:nvSpPr>
          <p:spPr>
            <a:xfrm>
              <a:off x="4318017" y="1918448"/>
              <a:ext cx="96073" cy="123085"/>
            </a:xfrm>
            <a:custGeom>
              <a:avLst/>
              <a:gdLst>
                <a:gd name="connsiteX0" fmla="*/ 96073 w 96073"/>
                <a:gd name="connsiteY0" fmla="*/ 0 h 123085"/>
                <a:gd name="connsiteX1" fmla="*/ 0 w 96073"/>
                <a:gd name="connsiteY1" fmla="*/ 123086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23085">
                  <a:moveTo>
                    <a:pt x="96073" y="0"/>
                  </a:moveTo>
                  <a:lnTo>
                    <a:pt x="0" y="12308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2" name="Freeform: Shape 851">
              <a:extLst>
                <a:ext uri="{FF2B5EF4-FFF2-40B4-BE49-F238E27FC236}">
                  <a16:creationId xmlns:a16="http://schemas.microsoft.com/office/drawing/2014/main" id="{E512AF96-B12E-4CB7-AD49-778707D1B03B}"/>
                </a:ext>
              </a:extLst>
            </p:cNvPr>
            <p:cNvSpPr/>
            <p:nvPr/>
          </p:nvSpPr>
          <p:spPr>
            <a:xfrm>
              <a:off x="6603731" y="5578432"/>
              <a:ext cx="125591" cy="64049"/>
            </a:xfrm>
            <a:custGeom>
              <a:avLst/>
              <a:gdLst>
                <a:gd name="connsiteX0" fmla="*/ 125592 w 125591"/>
                <a:gd name="connsiteY0" fmla="*/ 0 h 64049"/>
                <a:gd name="connsiteX1" fmla="*/ 0 w 125591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4049">
                  <a:moveTo>
                    <a:pt x="125592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3" name="Freeform: Shape 852">
              <a:extLst>
                <a:ext uri="{FF2B5EF4-FFF2-40B4-BE49-F238E27FC236}">
                  <a16:creationId xmlns:a16="http://schemas.microsoft.com/office/drawing/2014/main" id="{5C49334D-3657-4AC8-BFC9-22F23A5F93F4}"/>
                </a:ext>
              </a:extLst>
            </p:cNvPr>
            <p:cNvSpPr/>
            <p:nvPr/>
          </p:nvSpPr>
          <p:spPr>
            <a:xfrm>
              <a:off x="5232247" y="3584001"/>
              <a:ext cx="125591" cy="34809"/>
            </a:xfrm>
            <a:custGeom>
              <a:avLst/>
              <a:gdLst>
                <a:gd name="connsiteX0" fmla="*/ 125592 w 125591"/>
                <a:gd name="connsiteY0" fmla="*/ 0 h 34809"/>
                <a:gd name="connsiteX1" fmla="*/ 0 w 125591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4809">
                  <a:moveTo>
                    <a:pt x="125592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4" name="Freeform: Shape 853">
              <a:extLst>
                <a:ext uri="{FF2B5EF4-FFF2-40B4-BE49-F238E27FC236}">
                  <a16:creationId xmlns:a16="http://schemas.microsoft.com/office/drawing/2014/main" id="{A1FBD13E-94EF-47A7-9E69-5D150B5CE50D}"/>
                </a:ext>
              </a:extLst>
            </p:cNvPr>
            <p:cNvSpPr/>
            <p:nvPr/>
          </p:nvSpPr>
          <p:spPr>
            <a:xfrm>
              <a:off x="2040100" y="1915942"/>
              <a:ext cx="82985" cy="125591"/>
            </a:xfrm>
            <a:custGeom>
              <a:avLst/>
              <a:gdLst>
                <a:gd name="connsiteX0" fmla="*/ 82985 w 82985"/>
                <a:gd name="connsiteY0" fmla="*/ 0 h 125591"/>
                <a:gd name="connsiteX1" fmla="*/ 0 w 82985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25591">
                  <a:moveTo>
                    <a:pt x="82985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5" name="Freeform: Shape 854">
              <a:extLst>
                <a:ext uri="{FF2B5EF4-FFF2-40B4-BE49-F238E27FC236}">
                  <a16:creationId xmlns:a16="http://schemas.microsoft.com/office/drawing/2014/main" id="{EB611920-493D-43A1-8466-F2ADEEB6E2B2}"/>
                </a:ext>
              </a:extLst>
            </p:cNvPr>
            <p:cNvSpPr/>
            <p:nvPr/>
          </p:nvSpPr>
          <p:spPr>
            <a:xfrm>
              <a:off x="9341130" y="4698732"/>
              <a:ext cx="125591" cy="45391"/>
            </a:xfrm>
            <a:custGeom>
              <a:avLst/>
              <a:gdLst>
                <a:gd name="connsiteX0" fmla="*/ 125592 w 125591"/>
                <a:gd name="connsiteY0" fmla="*/ 0 h 45391"/>
                <a:gd name="connsiteX1" fmla="*/ 0 w 12559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5391">
                  <a:moveTo>
                    <a:pt x="125592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6" name="Freeform: Shape 855">
              <a:extLst>
                <a:ext uri="{FF2B5EF4-FFF2-40B4-BE49-F238E27FC236}">
                  <a16:creationId xmlns:a16="http://schemas.microsoft.com/office/drawing/2014/main" id="{7F1248E0-EE8C-46D1-A335-B877717BD608}"/>
                </a:ext>
              </a:extLst>
            </p:cNvPr>
            <p:cNvSpPr/>
            <p:nvPr/>
          </p:nvSpPr>
          <p:spPr>
            <a:xfrm>
              <a:off x="4780283" y="854399"/>
              <a:ext cx="125870" cy="61542"/>
            </a:xfrm>
            <a:custGeom>
              <a:avLst/>
              <a:gdLst>
                <a:gd name="connsiteX0" fmla="*/ 125870 w 125870"/>
                <a:gd name="connsiteY0" fmla="*/ 0 h 61542"/>
                <a:gd name="connsiteX1" fmla="*/ 0 w 125870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61542">
                  <a:moveTo>
                    <a:pt x="125870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7" name="Freeform: Shape 856">
              <a:extLst>
                <a:ext uri="{FF2B5EF4-FFF2-40B4-BE49-F238E27FC236}">
                  <a16:creationId xmlns:a16="http://schemas.microsoft.com/office/drawing/2014/main" id="{93F901E2-9744-4CE9-B312-382A3E431B3D}"/>
                </a:ext>
              </a:extLst>
            </p:cNvPr>
            <p:cNvSpPr/>
            <p:nvPr/>
          </p:nvSpPr>
          <p:spPr>
            <a:xfrm>
              <a:off x="2954608" y="5340336"/>
              <a:ext cx="122807" cy="80200"/>
            </a:xfrm>
            <a:custGeom>
              <a:avLst/>
              <a:gdLst>
                <a:gd name="connsiteX0" fmla="*/ 122807 w 122807"/>
                <a:gd name="connsiteY0" fmla="*/ 0 h 80200"/>
                <a:gd name="connsiteX1" fmla="*/ 0 w 122807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200">
                  <a:moveTo>
                    <a:pt x="122807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8" name="Freeform: Shape 857">
              <a:extLst>
                <a:ext uri="{FF2B5EF4-FFF2-40B4-BE49-F238E27FC236}">
                  <a16:creationId xmlns:a16="http://schemas.microsoft.com/office/drawing/2014/main" id="{E3D2DC47-4BD8-4F9D-9766-59B68565E347}"/>
                </a:ext>
              </a:extLst>
            </p:cNvPr>
            <p:cNvSpPr/>
            <p:nvPr/>
          </p:nvSpPr>
          <p:spPr>
            <a:xfrm>
              <a:off x="3868838" y="3362057"/>
              <a:ext cx="122807" cy="29518"/>
            </a:xfrm>
            <a:custGeom>
              <a:avLst/>
              <a:gdLst>
                <a:gd name="connsiteX0" fmla="*/ 122807 w 122807"/>
                <a:gd name="connsiteY0" fmla="*/ 0 h 29518"/>
                <a:gd name="connsiteX1" fmla="*/ 0 w 12280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9518">
                  <a:moveTo>
                    <a:pt x="122807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9" name="Freeform: Shape 858">
              <a:extLst>
                <a:ext uri="{FF2B5EF4-FFF2-40B4-BE49-F238E27FC236}">
                  <a16:creationId xmlns:a16="http://schemas.microsoft.com/office/drawing/2014/main" id="{9F337835-4460-4594-9746-0E4AA7883896}"/>
                </a:ext>
              </a:extLst>
            </p:cNvPr>
            <p:cNvSpPr/>
            <p:nvPr/>
          </p:nvSpPr>
          <p:spPr>
            <a:xfrm>
              <a:off x="4093288" y="3359551"/>
              <a:ext cx="125591" cy="32024"/>
            </a:xfrm>
            <a:custGeom>
              <a:avLst/>
              <a:gdLst>
                <a:gd name="connsiteX0" fmla="*/ 125592 w 125591"/>
                <a:gd name="connsiteY0" fmla="*/ 0 h 32024"/>
                <a:gd name="connsiteX1" fmla="*/ 0 w 12559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2024">
                  <a:moveTo>
                    <a:pt x="125592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0" name="Freeform: Shape 859">
              <a:extLst>
                <a:ext uri="{FF2B5EF4-FFF2-40B4-BE49-F238E27FC236}">
                  <a16:creationId xmlns:a16="http://schemas.microsoft.com/office/drawing/2014/main" id="{526E07F3-0EE5-4D19-A57A-6249D9599C31}"/>
                </a:ext>
              </a:extLst>
            </p:cNvPr>
            <p:cNvSpPr/>
            <p:nvPr/>
          </p:nvSpPr>
          <p:spPr>
            <a:xfrm>
              <a:off x="9798384" y="3356766"/>
              <a:ext cx="122807" cy="34809"/>
            </a:xfrm>
            <a:custGeom>
              <a:avLst/>
              <a:gdLst>
                <a:gd name="connsiteX0" fmla="*/ 122807 w 122807"/>
                <a:gd name="connsiteY0" fmla="*/ 0 h 34809"/>
                <a:gd name="connsiteX1" fmla="*/ 0 w 12280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34809">
                  <a:moveTo>
                    <a:pt x="122807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1" name="Freeform: Shape 860">
              <a:extLst>
                <a:ext uri="{FF2B5EF4-FFF2-40B4-BE49-F238E27FC236}">
                  <a16:creationId xmlns:a16="http://schemas.microsoft.com/office/drawing/2014/main" id="{D8A918DF-0655-43CE-B1B5-019E01DD9ED2}"/>
                </a:ext>
              </a:extLst>
            </p:cNvPr>
            <p:cNvSpPr/>
            <p:nvPr/>
          </p:nvSpPr>
          <p:spPr>
            <a:xfrm>
              <a:off x="6146477" y="2634962"/>
              <a:ext cx="123085" cy="85491"/>
            </a:xfrm>
            <a:custGeom>
              <a:avLst/>
              <a:gdLst>
                <a:gd name="connsiteX0" fmla="*/ 123085 w 123085"/>
                <a:gd name="connsiteY0" fmla="*/ 0 h 85491"/>
                <a:gd name="connsiteX1" fmla="*/ 0 w 12308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491">
                  <a:moveTo>
                    <a:pt x="12308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2" name="Freeform: Shape 861">
              <a:extLst>
                <a:ext uri="{FF2B5EF4-FFF2-40B4-BE49-F238E27FC236}">
                  <a16:creationId xmlns:a16="http://schemas.microsoft.com/office/drawing/2014/main" id="{E21989F4-8372-49C4-8E39-02BC489DC1A1}"/>
                </a:ext>
              </a:extLst>
            </p:cNvPr>
            <p:cNvSpPr/>
            <p:nvPr/>
          </p:nvSpPr>
          <p:spPr>
            <a:xfrm>
              <a:off x="6603731" y="5356488"/>
              <a:ext cx="125591" cy="61542"/>
            </a:xfrm>
            <a:custGeom>
              <a:avLst/>
              <a:gdLst>
                <a:gd name="connsiteX0" fmla="*/ 125592 w 125591"/>
                <a:gd name="connsiteY0" fmla="*/ 0 h 61542"/>
                <a:gd name="connsiteX1" fmla="*/ 0 w 125591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542">
                  <a:moveTo>
                    <a:pt x="125592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3" name="Freeform: Shape 862">
              <a:extLst>
                <a:ext uri="{FF2B5EF4-FFF2-40B4-BE49-F238E27FC236}">
                  <a16:creationId xmlns:a16="http://schemas.microsoft.com/office/drawing/2014/main" id="{C772FCFE-E2A0-4302-BDB8-2A70576000E4}"/>
                </a:ext>
              </a:extLst>
            </p:cNvPr>
            <p:cNvSpPr/>
            <p:nvPr/>
          </p:nvSpPr>
          <p:spPr>
            <a:xfrm>
              <a:off x="2954608" y="5121177"/>
              <a:ext cx="122807" cy="74909"/>
            </a:xfrm>
            <a:custGeom>
              <a:avLst/>
              <a:gdLst>
                <a:gd name="connsiteX0" fmla="*/ 122807 w 122807"/>
                <a:gd name="connsiteY0" fmla="*/ 0 h 74909"/>
                <a:gd name="connsiteX1" fmla="*/ 0 w 122807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74909">
                  <a:moveTo>
                    <a:pt x="122807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4" name="Freeform: Shape 863">
              <a:extLst>
                <a:ext uri="{FF2B5EF4-FFF2-40B4-BE49-F238E27FC236}">
                  <a16:creationId xmlns:a16="http://schemas.microsoft.com/office/drawing/2014/main" id="{4F91097D-FA81-48EB-92DE-2F019694136F}"/>
                </a:ext>
              </a:extLst>
            </p:cNvPr>
            <p:cNvSpPr/>
            <p:nvPr/>
          </p:nvSpPr>
          <p:spPr>
            <a:xfrm>
              <a:off x="449456" y="865259"/>
              <a:ext cx="125870" cy="50682"/>
            </a:xfrm>
            <a:custGeom>
              <a:avLst/>
              <a:gdLst>
                <a:gd name="connsiteX0" fmla="*/ 125870 w 125870"/>
                <a:gd name="connsiteY0" fmla="*/ 0 h 50682"/>
                <a:gd name="connsiteX1" fmla="*/ 0 w 125870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50682">
                  <a:moveTo>
                    <a:pt x="125870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5" name="Freeform: Shape 864">
              <a:extLst>
                <a:ext uri="{FF2B5EF4-FFF2-40B4-BE49-F238E27FC236}">
                  <a16:creationId xmlns:a16="http://schemas.microsoft.com/office/drawing/2014/main" id="{FA6217E2-BEFC-4AF1-8750-9E7DB1444EF8}"/>
                </a:ext>
              </a:extLst>
            </p:cNvPr>
            <p:cNvSpPr/>
            <p:nvPr/>
          </p:nvSpPr>
          <p:spPr>
            <a:xfrm>
              <a:off x="9798384" y="4273781"/>
              <a:ext cx="122807" cy="23948"/>
            </a:xfrm>
            <a:custGeom>
              <a:avLst/>
              <a:gdLst>
                <a:gd name="connsiteX0" fmla="*/ 122807 w 122807"/>
                <a:gd name="connsiteY0" fmla="*/ 0 h 23948"/>
                <a:gd name="connsiteX1" fmla="*/ 0 w 122807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3948">
                  <a:moveTo>
                    <a:pt x="122807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6" name="Freeform: Shape 865">
              <a:extLst>
                <a:ext uri="{FF2B5EF4-FFF2-40B4-BE49-F238E27FC236}">
                  <a16:creationId xmlns:a16="http://schemas.microsoft.com/office/drawing/2014/main" id="{5AEAC933-BA11-4EA1-9050-CBF231712192}"/>
                </a:ext>
              </a:extLst>
            </p:cNvPr>
            <p:cNvSpPr/>
            <p:nvPr/>
          </p:nvSpPr>
          <p:spPr>
            <a:xfrm>
              <a:off x="8202171" y="5131759"/>
              <a:ext cx="125870" cy="61542"/>
            </a:xfrm>
            <a:custGeom>
              <a:avLst/>
              <a:gdLst>
                <a:gd name="connsiteX0" fmla="*/ 125871 w 125870"/>
                <a:gd name="connsiteY0" fmla="*/ 0 h 61542"/>
                <a:gd name="connsiteX1" fmla="*/ 0 w 125870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61542">
                  <a:moveTo>
                    <a:pt x="125871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7" name="Freeform: Shape 866">
              <a:extLst>
                <a:ext uri="{FF2B5EF4-FFF2-40B4-BE49-F238E27FC236}">
                  <a16:creationId xmlns:a16="http://schemas.microsoft.com/office/drawing/2014/main" id="{13E0A3B0-96A8-42E9-8FE3-3FC204F7E33C}"/>
                </a:ext>
              </a:extLst>
            </p:cNvPr>
            <p:cNvSpPr/>
            <p:nvPr/>
          </p:nvSpPr>
          <p:spPr>
            <a:xfrm>
              <a:off x="5010303" y="870550"/>
              <a:ext cx="125591" cy="45391"/>
            </a:xfrm>
            <a:custGeom>
              <a:avLst/>
              <a:gdLst>
                <a:gd name="connsiteX0" fmla="*/ 125592 w 125591"/>
                <a:gd name="connsiteY0" fmla="*/ 0 h 45391"/>
                <a:gd name="connsiteX1" fmla="*/ 0 w 12559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5391">
                  <a:moveTo>
                    <a:pt x="125592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8" name="Freeform: Shape 867">
              <a:extLst>
                <a:ext uri="{FF2B5EF4-FFF2-40B4-BE49-F238E27FC236}">
                  <a16:creationId xmlns:a16="http://schemas.microsoft.com/office/drawing/2014/main" id="{9D16CA3C-43B2-47DD-ADD8-1D5C3469C627}"/>
                </a:ext>
              </a:extLst>
            </p:cNvPr>
            <p:cNvSpPr/>
            <p:nvPr/>
          </p:nvSpPr>
          <p:spPr>
            <a:xfrm>
              <a:off x="2727373" y="5364564"/>
              <a:ext cx="125591" cy="53467"/>
            </a:xfrm>
            <a:custGeom>
              <a:avLst/>
              <a:gdLst>
                <a:gd name="connsiteX0" fmla="*/ 125592 w 125591"/>
                <a:gd name="connsiteY0" fmla="*/ 0 h 53467"/>
                <a:gd name="connsiteX1" fmla="*/ 0 w 125591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3467">
                  <a:moveTo>
                    <a:pt x="125592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9" name="Freeform: Shape 868">
              <a:extLst>
                <a:ext uri="{FF2B5EF4-FFF2-40B4-BE49-F238E27FC236}">
                  <a16:creationId xmlns:a16="http://schemas.microsoft.com/office/drawing/2014/main" id="{79CC37D1-052B-4466-9035-83E302C6687D}"/>
                </a:ext>
              </a:extLst>
            </p:cNvPr>
            <p:cNvSpPr/>
            <p:nvPr/>
          </p:nvSpPr>
          <p:spPr>
            <a:xfrm>
              <a:off x="7972430" y="5134544"/>
              <a:ext cx="125591" cy="58758"/>
            </a:xfrm>
            <a:custGeom>
              <a:avLst/>
              <a:gdLst>
                <a:gd name="connsiteX0" fmla="*/ 125592 w 125591"/>
                <a:gd name="connsiteY0" fmla="*/ 0 h 58758"/>
                <a:gd name="connsiteX1" fmla="*/ 0 w 125591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8758">
                  <a:moveTo>
                    <a:pt x="125592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0" name="Freeform: Shape 869">
              <a:extLst>
                <a:ext uri="{FF2B5EF4-FFF2-40B4-BE49-F238E27FC236}">
                  <a16:creationId xmlns:a16="http://schemas.microsoft.com/office/drawing/2014/main" id="{6B28B962-F7A7-486B-A696-1E3A252D8F77}"/>
                </a:ext>
              </a:extLst>
            </p:cNvPr>
            <p:cNvSpPr/>
            <p:nvPr/>
          </p:nvSpPr>
          <p:spPr>
            <a:xfrm>
              <a:off x="7285435" y="3044040"/>
              <a:ext cx="87997" cy="125591"/>
            </a:xfrm>
            <a:custGeom>
              <a:avLst/>
              <a:gdLst>
                <a:gd name="connsiteX0" fmla="*/ 87998 w 87997"/>
                <a:gd name="connsiteY0" fmla="*/ 0 h 125591"/>
                <a:gd name="connsiteX1" fmla="*/ 0 w 87997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997" h="125591">
                  <a:moveTo>
                    <a:pt x="87998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1" name="Freeform: Shape 870">
              <a:extLst>
                <a:ext uri="{FF2B5EF4-FFF2-40B4-BE49-F238E27FC236}">
                  <a16:creationId xmlns:a16="http://schemas.microsoft.com/office/drawing/2014/main" id="{03D87656-DDE6-4A4A-81E7-2D42EFB2BE02}"/>
                </a:ext>
              </a:extLst>
            </p:cNvPr>
            <p:cNvSpPr/>
            <p:nvPr/>
          </p:nvSpPr>
          <p:spPr>
            <a:xfrm>
              <a:off x="5464772" y="3338108"/>
              <a:ext cx="125591" cy="53467"/>
            </a:xfrm>
            <a:custGeom>
              <a:avLst/>
              <a:gdLst>
                <a:gd name="connsiteX0" fmla="*/ 125592 w 125591"/>
                <a:gd name="connsiteY0" fmla="*/ 0 h 53467"/>
                <a:gd name="connsiteX1" fmla="*/ 0 w 125591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3467">
                  <a:moveTo>
                    <a:pt x="125592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2" name="Freeform: Shape 871">
              <a:extLst>
                <a:ext uri="{FF2B5EF4-FFF2-40B4-BE49-F238E27FC236}">
                  <a16:creationId xmlns:a16="http://schemas.microsoft.com/office/drawing/2014/main" id="{0CA97871-375C-4C28-9720-77FD2F3AFA70}"/>
                </a:ext>
              </a:extLst>
            </p:cNvPr>
            <p:cNvSpPr/>
            <p:nvPr/>
          </p:nvSpPr>
          <p:spPr>
            <a:xfrm>
              <a:off x="2724589" y="2140392"/>
              <a:ext cx="88276" cy="125591"/>
            </a:xfrm>
            <a:custGeom>
              <a:avLst/>
              <a:gdLst>
                <a:gd name="connsiteX0" fmla="*/ 88276 w 88276"/>
                <a:gd name="connsiteY0" fmla="*/ 0 h 125591"/>
                <a:gd name="connsiteX1" fmla="*/ 0 w 8827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5591">
                  <a:moveTo>
                    <a:pt x="88276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3" name="Freeform: Shape 872">
              <a:extLst>
                <a:ext uri="{FF2B5EF4-FFF2-40B4-BE49-F238E27FC236}">
                  <a16:creationId xmlns:a16="http://schemas.microsoft.com/office/drawing/2014/main" id="{95B74D89-7F40-457A-9B16-9C46E6FD42B0}"/>
                </a:ext>
              </a:extLst>
            </p:cNvPr>
            <p:cNvSpPr/>
            <p:nvPr/>
          </p:nvSpPr>
          <p:spPr>
            <a:xfrm>
              <a:off x="9571149" y="3330033"/>
              <a:ext cx="125591" cy="61542"/>
            </a:xfrm>
            <a:custGeom>
              <a:avLst/>
              <a:gdLst>
                <a:gd name="connsiteX0" fmla="*/ 125592 w 125591"/>
                <a:gd name="connsiteY0" fmla="*/ 0 h 61542"/>
                <a:gd name="connsiteX1" fmla="*/ 0 w 125591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542">
                  <a:moveTo>
                    <a:pt x="125592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4" name="Freeform: Shape 873">
              <a:extLst>
                <a:ext uri="{FF2B5EF4-FFF2-40B4-BE49-F238E27FC236}">
                  <a16:creationId xmlns:a16="http://schemas.microsoft.com/office/drawing/2014/main" id="{D21ACDDD-B4BB-4197-B17D-17A2CE7EB8E0}"/>
                </a:ext>
              </a:extLst>
            </p:cNvPr>
            <p:cNvSpPr/>
            <p:nvPr/>
          </p:nvSpPr>
          <p:spPr>
            <a:xfrm>
              <a:off x="5916457" y="3808451"/>
              <a:ext cx="125870" cy="34809"/>
            </a:xfrm>
            <a:custGeom>
              <a:avLst/>
              <a:gdLst>
                <a:gd name="connsiteX0" fmla="*/ 125870 w 125870"/>
                <a:gd name="connsiteY0" fmla="*/ 0 h 34809"/>
                <a:gd name="connsiteX1" fmla="*/ 0 w 125870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34809">
                  <a:moveTo>
                    <a:pt x="125870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5" name="Freeform: Shape 874">
              <a:extLst>
                <a:ext uri="{FF2B5EF4-FFF2-40B4-BE49-F238E27FC236}">
                  <a16:creationId xmlns:a16="http://schemas.microsoft.com/office/drawing/2014/main" id="{DC7B1BB9-5673-4755-B097-F2590DD7FEC2}"/>
                </a:ext>
              </a:extLst>
            </p:cNvPr>
            <p:cNvSpPr/>
            <p:nvPr/>
          </p:nvSpPr>
          <p:spPr>
            <a:xfrm>
              <a:off x="7745196" y="5388512"/>
              <a:ext cx="122807" cy="29518"/>
            </a:xfrm>
            <a:custGeom>
              <a:avLst/>
              <a:gdLst>
                <a:gd name="connsiteX0" fmla="*/ 122807 w 122807"/>
                <a:gd name="connsiteY0" fmla="*/ 0 h 29518"/>
                <a:gd name="connsiteX1" fmla="*/ 0 w 12280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9518">
                  <a:moveTo>
                    <a:pt x="122807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6" name="Freeform: Shape 875">
              <a:extLst>
                <a:ext uri="{FF2B5EF4-FFF2-40B4-BE49-F238E27FC236}">
                  <a16:creationId xmlns:a16="http://schemas.microsoft.com/office/drawing/2014/main" id="{9EEFF296-F535-49CB-99D7-839A13981BB4}"/>
                </a:ext>
              </a:extLst>
            </p:cNvPr>
            <p:cNvSpPr/>
            <p:nvPr/>
          </p:nvSpPr>
          <p:spPr>
            <a:xfrm>
              <a:off x="9792815" y="3808451"/>
              <a:ext cx="125870" cy="34809"/>
            </a:xfrm>
            <a:custGeom>
              <a:avLst/>
              <a:gdLst>
                <a:gd name="connsiteX0" fmla="*/ 125870 w 125870"/>
                <a:gd name="connsiteY0" fmla="*/ 0 h 34809"/>
                <a:gd name="connsiteX1" fmla="*/ 0 w 125870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34809">
                  <a:moveTo>
                    <a:pt x="125870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7" name="Freeform: Shape 876">
              <a:extLst>
                <a:ext uri="{FF2B5EF4-FFF2-40B4-BE49-F238E27FC236}">
                  <a16:creationId xmlns:a16="http://schemas.microsoft.com/office/drawing/2014/main" id="{8E3B17B5-83BA-4E69-B019-6B43F66C8901}"/>
                </a:ext>
              </a:extLst>
            </p:cNvPr>
            <p:cNvSpPr/>
            <p:nvPr/>
          </p:nvSpPr>
          <p:spPr>
            <a:xfrm>
              <a:off x="5010303" y="3784502"/>
              <a:ext cx="125591" cy="56251"/>
            </a:xfrm>
            <a:custGeom>
              <a:avLst/>
              <a:gdLst>
                <a:gd name="connsiteX0" fmla="*/ 125592 w 125591"/>
                <a:gd name="connsiteY0" fmla="*/ 0 h 56251"/>
                <a:gd name="connsiteX1" fmla="*/ 0 w 125591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6251">
                  <a:moveTo>
                    <a:pt x="125592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8" name="Freeform: Shape 877">
              <a:extLst>
                <a:ext uri="{FF2B5EF4-FFF2-40B4-BE49-F238E27FC236}">
                  <a16:creationId xmlns:a16="http://schemas.microsoft.com/office/drawing/2014/main" id="{DCF523F6-9736-4683-B89D-C96C73EF9C32}"/>
                </a:ext>
              </a:extLst>
            </p:cNvPr>
            <p:cNvSpPr/>
            <p:nvPr/>
          </p:nvSpPr>
          <p:spPr>
            <a:xfrm>
              <a:off x="6600946" y="4247048"/>
              <a:ext cx="125591" cy="45391"/>
            </a:xfrm>
            <a:custGeom>
              <a:avLst/>
              <a:gdLst>
                <a:gd name="connsiteX0" fmla="*/ 125592 w 125591"/>
                <a:gd name="connsiteY0" fmla="*/ 0 h 45391"/>
                <a:gd name="connsiteX1" fmla="*/ 0 w 12559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5391">
                  <a:moveTo>
                    <a:pt x="125592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9" name="Freeform: Shape 878">
              <a:extLst>
                <a:ext uri="{FF2B5EF4-FFF2-40B4-BE49-F238E27FC236}">
                  <a16:creationId xmlns:a16="http://schemas.microsoft.com/office/drawing/2014/main" id="{60565DBF-95E7-45B2-9D54-0AA53067981F}"/>
                </a:ext>
              </a:extLst>
            </p:cNvPr>
            <p:cNvSpPr/>
            <p:nvPr/>
          </p:nvSpPr>
          <p:spPr>
            <a:xfrm>
              <a:off x="3409078" y="2140392"/>
              <a:ext cx="82706" cy="125591"/>
            </a:xfrm>
            <a:custGeom>
              <a:avLst/>
              <a:gdLst>
                <a:gd name="connsiteX0" fmla="*/ 82707 w 82706"/>
                <a:gd name="connsiteY0" fmla="*/ 0 h 125591"/>
                <a:gd name="connsiteX1" fmla="*/ 0 w 8270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125591">
                  <a:moveTo>
                    <a:pt x="82707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0" name="Freeform: Shape 879">
              <a:extLst>
                <a:ext uri="{FF2B5EF4-FFF2-40B4-BE49-F238E27FC236}">
                  <a16:creationId xmlns:a16="http://schemas.microsoft.com/office/drawing/2014/main" id="{5AA09084-5484-4891-9EE7-53CF55920A6D}"/>
                </a:ext>
              </a:extLst>
            </p:cNvPr>
            <p:cNvSpPr/>
            <p:nvPr/>
          </p:nvSpPr>
          <p:spPr>
            <a:xfrm>
              <a:off x="2727373" y="5145126"/>
              <a:ext cx="125591" cy="48175"/>
            </a:xfrm>
            <a:custGeom>
              <a:avLst/>
              <a:gdLst>
                <a:gd name="connsiteX0" fmla="*/ 125592 w 125591"/>
                <a:gd name="connsiteY0" fmla="*/ 0 h 48175"/>
                <a:gd name="connsiteX1" fmla="*/ 0 w 125591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8175">
                  <a:moveTo>
                    <a:pt x="125592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1" name="Freeform: Shape 880">
              <a:extLst>
                <a:ext uri="{FF2B5EF4-FFF2-40B4-BE49-F238E27FC236}">
                  <a16:creationId xmlns:a16="http://schemas.microsoft.com/office/drawing/2014/main" id="{A755F5FF-C3DE-4EED-88D1-92F812D58AC3}"/>
                </a:ext>
              </a:extLst>
            </p:cNvPr>
            <p:cNvSpPr/>
            <p:nvPr/>
          </p:nvSpPr>
          <p:spPr>
            <a:xfrm>
              <a:off x="6830966" y="2629671"/>
              <a:ext cx="117516" cy="90782"/>
            </a:xfrm>
            <a:custGeom>
              <a:avLst/>
              <a:gdLst>
                <a:gd name="connsiteX0" fmla="*/ 117516 w 117516"/>
                <a:gd name="connsiteY0" fmla="*/ 0 h 90782"/>
                <a:gd name="connsiteX1" fmla="*/ 0 w 117516"/>
                <a:gd name="connsiteY1" fmla="*/ 90783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90782">
                  <a:moveTo>
                    <a:pt x="117516" y="0"/>
                  </a:moveTo>
                  <a:lnTo>
                    <a:pt x="0" y="907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2" name="Freeform: Shape 881">
              <a:extLst>
                <a:ext uri="{FF2B5EF4-FFF2-40B4-BE49-F238E27FC236}">
                  <a16:creationId xmlns:a16="http://schemas.microsoft.com/office/drawing/2014/main" id="{41DED8DC-CA31-46F3-ABD6-AE7C830C0A63}"/>
                </a:ext>
              </a:extLst>
            </p:cNvPr>
            <p:cNvSpPr/>
            <p:nvPr/>
          </p:nvSpPr>
          <p:spPr>
            <a:xfrm>
              <a:off x="7517961" y="5147911"/>
              <a:ext cx="125591" cy="45391"/>
            </a:xfrm>
            <a:custGeom>
              <a:avLst/>
              <a:gdLst>
                <a:gd name="connsiteX0" fmla="*/ 125592 w 125591"/>
                <a:gd name="connsiteY0" fmla="*/ 0 h 45391"/>
                <a:gd name="connsiteX1" fmla="*/ 0 w 12559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5391">
                  <a:moveTo>
                    <a:pt x="125592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3" name="Freeform: Shape 882">
              <a:extLst>
                <a:ext uri="{FF2B5EF4-FFF2-40B4-BE49-F238E27FC236}">
                  <a16:creationId xmlns:a16="http://schemas.microsoft.com/office/drawing/2014/main" id="{A0F9530F-3680-4934-8B10-2646A2447552}"/>
                </a:ext>
              </a:extLst>
            </p:cNvPr>
            <p:cNvSpPr/>
            <p:nvPr/>
          </p:nvSpPr>
          <p:spPr>
            <a:xfrm>
              <a:off x="4547758" y="3781717"/>
              <a:ext cx="125591" cy="61542"/>
            </a:xfrm>
            <a:custGeom>
              <a:avLst/>
              <a:gdLst>
                <a:gd name="connsiteX0" fmla="*/ 125592 w 125591"/>
                <a:gd name="connsiteY0" fmla="*/ 0 h 61542"/>
                <a:gd name="connsiteX1" fmla="*/ 0 w 125591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542">
                  <a:moveTo>
                    <a:pt x="125592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4" name="Freeform: Shape 883">
              <a:extLst>
                <a:ext uri="{FF2B5EF4-FFF2-40B4-BE49-F238E27FC236}">
                  <a16:creationId xmlns:a16="http://schemas.microsoft.com/office/drawing/2014/main" id="{1A3E9101-0628-4C4B-838D-C0678F9D8C0D}"/>
                </a:ext>
              </a:extLst>
            </p:cNvPr>
            <p:cNvSpPr/>
            <p:nvPr/>
          </p:nvSpPr>
          <p:spPr>
            <a:xfrm>
              <a:off x="5692007" y="1116443"/>
              <a:ext cx="123085" cy="24227"/>
            </a:xfrm>
            <a:custGeom>
              <a:avLst/>
              <a:gdLst>
                <a:gd name="connsiteX0" fmla="*/ 123085 w 123085"/>
                <a:gd name="connsiteY0" fmla="*/ 0 h 24227"/>
                <a:gd name="connsiteX1" fmla="*/ 0 w 123085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4227">
                  <a:moveTo>
                    <a:pt x="123085" y="0"/>
                  </a:moveTo>
                  <a:lnTo>
                    <a:pt x="0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5" name="Freeform: Shape 884">
              <a:extLst>
                <a:ext uri="{FF2B5EF4-FFF2-40B4-BE49-F238E27FC236}">
                  <a16:creationId xmlns:a16="http://schemas.microsoft.com/office/drawing/2014/main" id="{4817DEE7-D864-481C-9C04-F0A0A2674DB4}"/>
                </a:ext>
              </a:extLst>
            </p:cNvPr>
            <p:cNvSpPr/>
            <p:nvPr/>
          </p:nvSpPr>
          <p:spPr>
            <a:xfrm>
              <a:off x="5232247" y="1092494"/>
              <a:ext cx="125591" cy="50682"/>
            </a:xfrm>
            <a:custGeom>
              <a:avLst/>
              <a:gdLst>
                <a:gd name="connsiteX0" fmla="*/ 125592 w 125591"/>
                <a:gd name="connsiteY0" fmla="*/ 0 h 50682"/>
                <a:gd name="connsiteX1" fmla="*/ 0 w 125591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0682">
                  <a:moveTo>
                    <a:pt x="125592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6" name="Freeform: Shape 885">
              <a:extLst>
                <a:ext uri="{FF2B5EF4-FFF2-40B4-BE49-F238E27FC236}">
                  <a16:creationId xmlns:a16="http://schemas.microsoft.com/office/drawing/2014/main" id="{221A54EB-D5B8-4ADD-BC34-AB9A636966EF}"/>
                </a:ext>
              </a:extLst>
            </p:cNvPr>
            <p:cNvSpPr/>
            <p:nvPr/>
          </p:nvSpPr>
          <p:spPr>
            <a:xfrm>
              <a:off x="7515176" y="2404942"/>
              <a:ext cx="117794" cy="91060"/>
            </a:xfrm>
            <a:custGeom>
              <a:avLst/>
              <a:gdLst>
                <a:gd name="connsiteX0" fmla="*/ 117794 w 117794"/>
                <a:gd name="connsiteY0" fmla="*/ 0 h 91060"/>
                <a:gd name="connsiteX1" fmla="*/ 0 w 117794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91060">
                  <a:moveTo>
                    <a:pt x="117794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7" name="Freeform: Shape 886">
              <a:extLst>
                <a:ext uri="{FF2B5EF4-FFF2-40B4-BE49-F238E27FC236}">
                  <a16:creationId xmlns:a16="http://schemas.microsoft.com/office/drawing/2014/main" id="{7A4289FC-E220-4952-AEA6-697745269482}"/>
                </a:ext>
              </a:extLst>
            </p:cNvPr>
            <p:cNvSpPr/>
            <p:nvPr/>
          </p:nvSpPr>
          <p:spPr>
            <a:xfrm>
              <a:off x="2494569" y="2145683"/>
              <a:ext cx="93567" cy="125591"/>
            </a:xfrm>
            <a:custGeom>
              <a:avLst/>
              <a:gdLst>
                <a:gd name="connsiteX0" fmla="*/ 93567 w 93567"/>
                <a:gd name="connsiteY0" fmla="*/ 0 h 125591"/>
                <a:gd name="connsiteX1" fmla="*/ 0 w 93567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25591">
                  <a:moveTo>
                    <a:pt x="93567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8" name="Freeform: Shape 887">
              <a:extLst>
                <a:ext uri="{FF2B5EF4-FFF2-40B4-BE49-F238E27FC236}">
                  <a16:creationId xmlns:a16="http://schemas.microsoft.com/office/drawing/2014/main" id="{B5457B24-9138-4B01-936F-93A39583390D}"/>
                </a:ext>
              </a:extLst>
            </p:cNvPr>
            <p:cNvSpPr/>
            <p:nvPr/>
          </p:nvSpPr>
          <p:spPr>
            <a:xfrm>
              <a:off x="6146477" y="2859412"/>
              <a:ext cx="123085" cy="85769"/>
            </a:xfrm>
            <a:custGeom>
              <a:avLst/>
              <a:gdLst>
                <a:gd name="connsiteX0" fmla="*/ 123085 w 123085"/>
                <a:gd name="connsiteY0" fmla="*/ 0 h 85769"/>
                <a:gd name="connsiteX1" fmla="*/ 0 w 123085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769">
                  <a:moveTo>
                    <a:pt x="123085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9" name="Freeform: Shape 888">
              <a:extLst>
                <a:ext uri="{FF2B5EF4-FFF2-40B4-BE49-F238E27FC236}">
                  <a16:creationId xmlns:a16="http://schemas.microsoft.com/office/drawing/2014/main" id="{FB1D35B9-E790-426A-BCB2-4F49D8824014}"/>
                </a:ext>
              </a:extLst>
            </p:cNvPr>
            <p:cNvSpPr/>
            <p:nvPr/>
          </p:nvSpPr>
          <p:spPr>
            <a:xfrm>
              <a:off x="5916457" y="2410512"/>
              <a:ext cx="123085" cy="85491"/>
            </a:xfrm>
            <a:custGeom>
              <a:avLst/>
              <a:gdLst>
                <a:gd name="connsiteX0" fmla="*/ 123086 w 123085"/>
                <a:gd name="connsiteY0" fmla="*/ 0 h 85491"/>
                <a:gd name="connsiteX1" fmla="*/ 0 w 123085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491">
                  <a:moveTo>
                    <a:pt x="123086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0" name="Freeform: Shape 889">
              <a:extLst>
                <a:ext uri="{FF2B5EF4-FFF2-40B4-BE49-F238E27FC236}">
                  <a16:creationId xmlns:a16="http://schemas.microsoft.com/office/drawing/2014/main" id="{ED8FB566-80CD-4EE2-B432-199E82377CFD}"/>
                </a:ext>
              </a:extLst>
            </p:cNvPr>
            <p:cNvSpPr/>
            <p:nvPr/>
          </p:nvSpPr>
          <p:spPr>
            <a:xfrm>
              <a:off x="5692007" y="1533597"/>
              <a:ext cx="123085" cy="55973"/>
            </a:xfrm>
            <a:custGeom>
              <a:avLst/>
              <a:gdLst>
                <a:gd name="connsiteX0" fmla="*/ 123085 w 123085"/>
                <a:gd name="connsiteY0" fmla="*/ 0 h 55973"/>
                <a:gd name="connsiteX1" fmla="*/ 0 w 123085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5973">
                  <a:moveTo>
                    <a:pt x="123085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1" name="Freeform: Shape 890">
              <a:extLst>
                <a:ext uri="{FF2B5EF4-FFF2-40B4-BE49-F238E27FC236}">
                  <a16:creationId xmlns:a16="http://schemas.microsoft.com/office/drawing/2014/main" id="{1BEF4F94-3765-48AB-9249-4FC34BEB6EF2}"/>
                </a:ext>
              </a:extLst>
            </p:cNvPr>
            <p:cNvSpPr/>
            <p:nvPr/>
          </p:nvSpPr>
          <p:spPr>
            <a:xfrm>
              <a:off x="6830966" y="5599596"/>
              <a:ext cx="125591" cy="42884"/>
            </a:xfrm>
            <a:custGeom>
              <a:avLst/>
              <a:gdLst>
                <a:gd name="connsiteX0" fmla="*/ 125592 w 125591"/>
                <a:gd name="connsiteY0" fmla="*/ 0 h 42884"/>
                <a:gd name="connsiteX1" fmla="*/ 0 w 12559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2884">
                  <a:moveTo>
                    <a:pt x="125592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2" name="Freeform: Shape 891">
              <a:extLst>
                <a:ext uri="{FF2B5EF4-FFF2-40B4-BE49-F238E27FC236}">
                  <a16:creationId xmlns:a16="http://schemas.microsoft.com/office/drawing/2014/main" id="{2AFFD86E-15C3-4AB8-9516-2DC27A63654D}"/>
                </a:ext>
              </a:extLst>
            </p:cNvPr>
            <p:cNvSpPr/>
            <p:nvPr/>
          </p:nvSpPr>
          <p:spPr>
            <a:xfrm>
              <a:off x="4325814" y="3784502"/>
              <a:ext cx="125870" cy="56251"/>
            </a:xfrm>
            <a:custGeom>
              <a:avLst/>
              <a:gdLst>
                <a:gd name="connsiteX0" fmla="*/ 125870 w 125870"/>
                <a:gd name="connsiteY0" fmla="*/ 0 h 56251"/>
                <a:gd name="connsiteX1" fmla="*/ 0 w 125870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56251">
                  <a:moveTo>
                    <a:pt x="125870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3" name="Freeform: Shape 892">
              <a:extLst>
                <a:ext uri="{FF2B5EF4-FFF2-40B4-BE49-F238E27FC236}">
                  <a16:creationId xmlns:a16="http://schemas.microsoft.com/office/drawing/2014/main" id="{B47B92D0-A909-4F83-8761-B342BCF422A7}"/>
                </a:ext>
              </a:extLst>
            </p:cNvPr>
            <p:cNvSpPr/>
            <p:nvPr/>
          </p:nvSpPr>
          <p:spPr>
            <a:xfrm>
              <a:off x="4777777" y="3781717"/>
              <a:ext cx="125591" cy="59036"/>
            </a:xfrm>
            <a:custGeom>
              <a:avLst/>
              <a:gdLst>
                <a:gd name="connsiteX0" fmla="*/ 125592 w 125591"/>
                <a:gd name="connsiteY0" fmla="*/ 0 h 59036"/>
                <a:gd name="connsiteX1" fmla="*/ 0 w 125591"/>
                <a:gd name="connsiteY1" fmla="*/ 59036 h 59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9036">
                  <a:moveTo>
                    <a:pt x="125592" y="0"/>
                  </a:moveTo>
                  <a:lnTo>
                    <a:pt x="0" y="5903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4" name="Freeform: Shape 893">
              <a:extLst>
                <a:ext uri="{FF2B5EF4-FFF2-40B4-BE49-F238E27FC236}">
                  <a16:creationId xmlns:a16="http://schemas.microsoft.com/office/drawing/2014/main" id="{6025C2F2-CBB8-4755-8ED0-4B7E3D6993D4}"/>
                </a:ext>
              </a:extLst>
            </p:cNvPr>
            <p:cNvSpPr/>
            <p:nvPr/>
          </p:nvSpPr>
          <p:spPr>
            <a:xfrm>
              <a:off x="901420" y="1766123"/>
              <a:ext cx="125591" cy="48175"/>
            </a:xfrm>
            <a:custGeom>
              <a:avLst/>
              <a:gdLst>
                <a:gd name="connsiteX0" fmla="*/ 125592 w 125591"/>
                <a:gd name="connsiteY0" fmla="*/ 0 h 48175"/>
                <a:gd name="connsiteX1" fmla="*/ 0 w 125591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8175">
                  <a:moveTo>
                    <a:pt x="125592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5" name="Freeform: Shape 894">
              <a:extLst>
                <a:ext uri="{FF2B5EF4-FFF2-40B4-BE49-F238E27FC236}">
                  <a16:creationId xmlns:a16="http://schemas.microsoft.com/office/drawing/2014/main" id="{F5B19892-AF45-4A0B-8AEB-7D9BF0673C7B}"/>
                </a:ext>
              </a:extLst>
            </p:cNvPr>
            <p:cNvSpPr/>
            <p:nvPr/>
          </p:nvSpPr>
          <p:spPr>
            <a:xfrm>
              <a:off x="5686716" y="1749971"/>
              <a:ext cx="125591" cy="66833"/>
            </a:xfrm>
            <a:custGeom>
              <a:avLst/>
              <a:gdLst>
                <a:gd name="connsiteX0" fmla="*/ 125592 w 125591"/>
                <a:gd name="connsiteY0" fmla="*/ 0 h 66833"/>
                <a:gd name="connsiteX1" fmla="*/ 0 w 125591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6833">
                  <a:moveTo>
                    <a:pt x="125592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6" name="Freeform: Shape 895">
              <a:extLst>
                <a:ext uri="{FF2B5EF4-FFF2-40B4-BE49-F238E27FC236}">
                  <a16:creationId xmlns:a16="http://schemas.microsoft.com/office/drawing/2014/main" id="{DFE45B3A-D58F-48CA-A51B-CF80E03E25A2}"/>
                </a:ext>
              </a:extLst>
            </p:cNvPr>
            <p:cNvSpPr/>
            <p:nvPr/>
          </p:nvSpPr>
          <p:spPr>
            <a:xfrm>
              <a:off x="5692007" y="3097507"/>
              <a:ext cx="123085" cy="72124"/>
            </a:xfrm>
            <a:custGeom>
              <a:avLst/>
              <a:gdLst>
                <a:gd name="connsiteX0" fmla="*/ 123085 w 123085"/>
                <a:gd name="connsiteY0" fmla="*/ 0 h 72124"/>
                <a:gd name="connsiteX1" fmla="*/ 0 w 123085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72124">
                  <a:moveTo>
                    <a:pt x="123085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7" name="Freeform: Shape 896">
              <a:extLst>
                <a:ext uri="{FF2B5EF4-FFF2-40B4-BE49-F238E27FC236}">
                  <a16:creationId xmlns:a16="http://schemas.microsoft.com/office/drawing/2014/main" id="{CA440BDF-EA64-4FDE-BD17-33C697940FA3}"/>
                </a:ext>
              </a:extLst>
            </p:cNvPr>
            <p:cNvSpPr/>
            <p:nvPr/>
          </p:nvSpPr>
          <p:spPr>
            <a:xfrm>
              <a:off x="5916457" y="2185783"/>
              <a:ext cx="123085" cy="80200"/>
            </a:xfrm>
            <a:custGeom>
              <a:avLst/>
              <a:gdLst>
                <a:gd name="connsiteX0" fmla="*/ 123086 w 123085"/>
                <a:gd name="connsiteY0" fmla="*/ 0 h 80200"/>
                <a:gd name="connsiteX1" fmla="*/ 0 w 123085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200">
                  <a:moveTo>
                    <a:pt x="12308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8" name="Freeform: Shape 897">
              <a:extLst>
                <a:ext uri="{FF2B5EF4-FFF2-40B4-BE49-F238E27FC236}">
                  <a16:creationId xmlns:a16="http://schemas.microsoft.com/office/drawing/2014/main" id="{E20ECDC3-E94F-47A2-9529-92A22B6DBFB9}"/>
                </a:ext>
              </a:extLst>
            </p:cNvPr>
            <p:cNvSpPr/>
            <p:nvPr/>
          </p:nvSpPr>
          <p:spPr>
            <a:xfrm>
              <a:off x="9341130" y="2461194"/>
              <a:ext cx="125591" cy="32024"/>
            </a:xfrm>
            <a:custGeom>
              <a:avLst/>
              <a:gdLst>
                <a:gd name="connsiteX0" fmla="*/ 125592 w 125591"/>
                <a:gd name="connsiteY0" fmla="*/ 0 h 32024"/>
                <a:gd name="connsiteX1" fmla="*/ 0 w 12559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2024">
                  <a:moveTo>
                    <a:pt x="125592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9" name="Freeform: Shape 898">
              <a:extLst>
                <a:ext uri="{FF2B5EF4-FFF2-40B4-BE49-F238E27FC236}">
                  <a16:creationId xmlns:a16="http://schemas.microsoft.com/office/drawing/2014/main" id="{018EED45-1089-4CF8-9FEC-2B2C17DC9250}"/>
                </a:ext>
              </a:extLst>
            </p:cNvPr>
            <p:cNvSpPr/>
            <p:nvPr/>
          </p:nvSpPr>
          <p:spPr>
            <a:xfrm>
              <a:off x="1588415" y="2461194"/>
              <a:ext cx="125591" cy="32024"/>
            </a:xfrm>
            <a:custGeom>
              <a:avLst/>
              <a:gdLst>
                <a:gd name="connsiteX0" fmla="*/ 125592 w 125591"/>
                <a:gd name="connsiteY0" fmla="*/ 0 h 32024"/>
                <a:gd name="connsiteX1" fmla="*/ 0 w 12559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2024">
                  <a:moveTo>
                    <a:pt x="125592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0" name="Freeform: Shape 899">
              <a:extLst>
                <a:ext uri="{FF2B5EF4-FFF2-40B4-BE49-F238E27FC236}">
                  <a16:creationId xmlns:a16="http://schemas.microsoft.com/office/drawing/2014/main" id="{5FF9380C-8154-4822-B77C-9335A899F404}"/>
                </a:ext>
              </a:extLst>
            </p:cNvPr>
            <p:cNvSpPr/>
            <p:nvPr/>
          </p:nvSpPr>
          <p:spPr>
            <a:xfrm>
              <a:off x="3633528" y="4220314"/>
              <a:ext cx="125591" cy="72124"/>
            </a:xfrm>
            <a:custGeom>
              <a:avLst/>
              <a:gdLst>
                <a:gd name="connsiteX0" fmla="*/ 125592 w 125591"/>
                <a:gd name="connsiteY0" fmla="*/ 0 h 72124"/>
                <a:gd name="connsiteX1" fmla="*/ 0 w 125591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72124">
                  <a:moveTo>
                    <a:pt x="125592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1" name="Freeform: Shape 900">
              <a:extLst>
                <a:ext uri="{FF2B5EF4-FFF2-40B4-BE49-F238E27FC236}">
                  <a16:creationId xmlns:a16="http://schemas.microsoft.com/office/drawing/2014/main" id="{0411C0C1-5F0D-4E63-8CDA-2E36F614056B}"/>
                </a:ext>
              </a:extLst>
            </p:cNvPr>
            <p:cNvSpPr/>
            <p:nvPr/>
          </p:nvSpPr>
          <p:spPr>
            <a:xfrm>
              <a:off x="5234753" y="3100013"/>
              <a:ext cx="125870" cy="66833"/>
            </a:xfrm>
            <a:custGeom>
              <a:avLst/>
              <a:gdLst>
                <a:gd name="connsiteX0" fmla="*/ 125870 w 125870"/>
                <a:gd name="connsiteY0" fmla="*/ 0 h 66833"/>
                <a:gd name="connsiteX1" fmla="*/ 0 w 125870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66833">
                  <a:moveTo>
                    <a:pt x="125870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2" name="Freeform: Shape 901">
              <a:extLst>
                <a:ext uri="{FF2B5EF4-FFF2-40B4-BE49-F238E27FC236}">
                  <a16:creationId xmlns:a16="http://schemas.microsoft.com/office/drawing/2014/main" id="{1450D907-2B50-4C9C-BD9E-705FA2940B2A}"/>
                </a:ext>
              </a:extLst>
            </p:cNvPr>
            <p:cNvSpPr/>
            <p:nvPr/>
          </p:nvSpPr>
          <p:spPr>
            <a:xfrm>
              <a:off x="8654135" y="4394082"/>
              <a:ext cx="96073" cy="122807"/>
            </a:xfrm>
            <a:custGeom>
              <a:avLst/>
              <a:gdLst>
                <a:gd name="connsiteX0" fmla="*/ 96073 w 96073"/>
                <a:gd name="connsiteY0" fmla="*/ 0 h 122807"/>
                <a:gd name="connsiteX1" fmla="*/ 0 w 96073"/>
                <a:gd name="connsiteY1" fmla="*/ 122807 h 122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22807">
                  <a:moveTo>
                    <a:pt x="96073" y="0"/>
                  </a:moveTo>
                  <a:lnTo>
                    <a:pt x="0" y="1228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3" name="Freeform: Shape 902">
              <a:extLst>
                <a:ext uri="{FF2B5EF4-FFF2-40B4-BE49-F238E27FC236}">
                  <a16:creationId xmlns:a16="http://schemas.microsoft.com/office/drawing/2014/main" id="{B4DBE908-7344-412C-906F-D6C5D9A92411}"/>
                </a:ext>
              </a:extLst>
            </p:cNvPr>
            <p:cNvSpPr/>
            <p:nvPr/>
          </p:nvSpPr>
          <p:spPr>
            <a:xfrm>
              <a:off x="5002227" y="4394082"/>
              <a:ext cx="96351" cy="122807"/>
            </a:xfrm>
            <a:custGeom>
              <a:avLst/>
              <a:gdLst>
                <a:gd name="connsiteX0" fmla="*/ 96352 w 96351"/>
                <a:gd name="connsiteY0" fmla="*/ 0 h 122807"/>
                <a:gd name="connsiteX1" fmla="*/ 0 w 96351"/>
                <a:gd name="connsiteY1" fmla="*/ 122807 h 122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22807">
                  <a:moveTo>
                    <a:pt x="96352" y="0"/>
                  </a:moveTo>
                  <a:lnTo>
                    <a:pt x="0" y="1228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4" name="Freeform: Shape 903">
              <a:extLst>
                <a:ext uri="{FF2B5EF4-FFF2-40B4-BE49-F238E27FC236}">
                  <a16:creationId xmlns:a16="http://schemas.microsoft.com/office/drawing/2014/main" id="{30683615-1D39-4F6A-8AC5-52C2296A51D7}"/>
                </a:ext>
              </a:extLst>
            </p:cNvPr>
            <p:cNvSpPr/>
            <p:nvPr/>
          </p:nvSpPr>
          <p:spPr>
            <a:xfrm>
              <a:off x="8886660" y="5158493"/>
              <a:ext cx="125591" cy="34809"/>
            </a:xfrm>
            <a:custGeom>
              <a:avLst/>
              <a:gdLst>
                <a:gd name="connsiteX0" fmla="*/ 125592 w 125591"/>
                <a:gd name="connsiteY0" fmla="*/ 0 h 34809"/>
                <a:gd name="connsiteX1" fmla="*/ 0 w 125591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4809">
                  <a:moveTo>
                    <a:pt x="125592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5" name="Freeform: Shape 904">
              <a:extLst>
                <a:ext uri="{FF2B5EF4-FFF2-40B4-BE49-F238E27FC236}">
                  <a16:creationId xmlns:a16="http://schemas.microsoft.com/office/drawing/2014/main" id="{FA2EA227-29AD-4E42-B9F8-6724C1543994}"/>
                </a:ext>
              </a:extLst>
            </p:cNvPr>
            <p:cNvSpPr/>
            <p:nvPr/>
          </p:nvSpPr>
          <p:spPr>
            <a:xfrm>
              <a:off x="8883876" y="2421094"/>
              <a:ext cx="123085" cy="74909"/>
            </a:xfrm>
            <a:custGeom>
              <a:avLst/>
              <a:gdLst>
                <a:gd name="connsiteX0" fmla="*/ 123085 w 123085"/>
                <a:gd name="connsiteY0" fmla="*/ 0 h 74909"/>
                <a:gd name="connsiteX1" fmla="*/ 0 w 123085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74909">
                  <a:moveTo>
                    <a:pt x="123085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6" name="Freeform: Shape 905">
              <a:extLst>
                <a:ext uri="{FF2B5EF4-FFF2-40B4-BE49-F238E27FC236}">
                  <a16:creationId xmlns:a16="http://schemas.microsoft.com/office/drawing/2014/main" id="{FB2B4676-02B7-4F5C-94F3-64078D0EE07B}"/>
                </a:ext>
              </a:extLst>
            </p:cNvPr>
            <p:cNvSpPr/>
            <p:nvPr/>
          </p:nvSpPr>
          <p:spPr>
            <a:xfrm>
              <a:off x="8654135" y="2210010"/>
              <a:ext cx="125591" cy="55973"/>
            </a:xfrm>
            <a:custGeom>
              <a:avLst/>
              <a:gdLst>
                <a:gd name="connsiteX0" fmla="*/ 125592 w 125591"/>
                <a:gd name="connsiteY0" fmla="*/ 0 h 55973"/>
                <a:gd name="connsiteX1" fmla="*/ 0 w 125591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5973">
                  <a:moveTo>
                    <a:pt x="125592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7" name="Freeform: Shape 906">
              <a:extLst>
                <a:ext uri="{FF2B5EF4-FFF2-40B4-BE49-F238E27FC236}">
                  <a16:creationId xmlns:a16="http://schemas.microsoft.com/office/drawing/2014/main" id="{5CB1579E-E535-4038-BD9A-9659EB680D0B}"/>
                </a:ext>
              </a:extLst>
            </p:cNvPr>
            <p:cNvSpPr/>
            <p:nvPr/>
          </p:nvSpPr>
          <p:spPr>
            <a:xfrm>
              <a:off x="4550542" y="3105583"/>
              <a:ext cx="125591" cy="61264"/>
            </a:xfrm>
            <a:custGeom>
              <a:avLst/>
              <a:gdLst>
                <a:gd name="connsiteX0" fmla="*/ 125592 w 125591"/>
                <a:gd name="connsiteY0" fmla="*/ 0 h 61264"/>
                <a:gd name="connsiteX1" fmla="*/ 0 w 125591"/>
                <a:gd name="connsiteY1" fmla="*/ 61264 h 61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264">
                  <a:moveTo>
                    <a:pt x="125592" y="0"/>
                  </a:moveTo>
                  <a:lnTo>
                    <a:pt x="0" y="612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8" name="Freeform: Shape 907">
              <a:extLst>
                <a:ext uri="{FF2B5EF4-FFF2-40B4-BE49-F238E27FC236}">
                  <a16:creationId xmlns:a16="http://schemas.microsoft.com/office/drawing/2014/main" id="{916A8FD8-CC8E-480D-8D77-09752A71F646}"/>
                </a:ext>
              </a:extLst>
            </p:cNvPr>
            <p:cNvSpPr/>
            <p:nvPr/>
          </p:nvSpPr>
          <p:spPr>
            <a:xfrm>
              <a:off x="6603731" y="2415803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9" name="Freeform: Shape 908">
              <a:extLst>
                <a:ext uri="{FF2B5EF4-FFF2-40B4-BE49-F238E27FC236}">
                  <a16:creationId xmlns:a16="http://schemas.microsoft.com/office/drawing/2014/main" id="{B6A307B0-3360-4AE2-85ED-52D2AA5F7E63}"/>
                </a:ext>
              </a:extLst>
            </p:cNvPr>
            <p:cNvSpPr/>
            <p:nvPr/>
          </p:nvSpPr>
          <p:spPr>
            <a:xfrm>
              <a:off x="4777777" y="648607"/>
              <a:ext cx="125591" cy="42884"/>
            </a:xfrm>
            <a:custGeom>
              <a:avLst/>
              <a:gdLst>
                <a:gd name="connsiteX0" fmla="*/ 125592 w 125591"/>
                <a:gd name="connsiteY0" fmla="*/ 0 h 42884"/>
                <a:gd name="connsiteX1" fmla="*/ 0 w 12559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2884">
                  <a:moveTo>
                    <a:pt x="125592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0" name="Freeform: Shape 909">
              <a:extLst>
                <a:ext uri="{FF2B5EF4-FFF2-40B4-BE49-F238E27FC236}">
                  <a16:creationId xmlns:a16="http://schemas.microsoft.com/office/drawing/2014/main" id="{4F16F8DC-BED6-4B5C-9FF5-4B6A86336407}"/>
                </a:ext>
              </a:extLst>
            </p:cNvPr>
            <p:cNvSpPr/>
            <p:nvPr/>
          </p:nvSpPr>
          <p:spPr>
            <a:xfrm>
              <a:off x="4096073" y="3110874"/>
              <a:ext cx="125591" cy="55973"/>
            </a:xfrm>
            <a:custGeom>
              <a:avLst/>
              <a:gdLst>
                <a:gd name="connsiteX0" fmla="*/ 125592 w 125591"/>
                <a:gd name="connsiteY0" fmla="*/ 0 h 55973"/>
                <a:gd name="connsiteX1" fmla="*/ 0 w 125591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5973">
                  <a:moveTo>
                    <a:pt x="125592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1" name="Freeform: Shape 910">
              <a:extLst>
                <a:ext uri="{FF2B5EF4-FFF2-40B4-BE49-F238E27FC236}">
                  <a16:creationId xmlns:a16="http://schemas.microsoft.com/office/drawing/2014/main" id="{1694B3F8-6194-4866-B811-EFA187C23439}"/>
                </a:ext>
              </a:extLst>
            </p:cNvPr>
            <p:cNvSpPr/>
            <p:nvPr/>
          </p:nvSpPr>
          <p:spPr>
            <a:xfrm>
              <a:off x="5007518" y="664758"/>
              <a:ext cx="123085" cy="26733"/>
            </a:xfrm>
            <a:custGeom>
              <a:avLst/>
              <a:gdLst>
                <a:gd name="connsiteX0" fmla="*/ 123086 w 123085"/>
                <a:gd name="connsiteY0" fmla="*/ 0 h 26733"/>
                <a:gd name="connsiteX1" fmla="*/ 0 w 123085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6733">
                  <a:moveTo>
                    <a:pt x="123086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2" name="Freeform: Shape 911">
              <a:extLst>
                <a:ext uri="{FF2B5EF4-FFF2-40B4-BE49-F238E27FC236}">
                  <a16:creationId xmlns:a16="http://schemas.microsoft.com/office/drawing/2014/main" id="{BDA3EAD4-1B41-4630-B8C9-DA3A89E0AB99}"/>
                </a:ext>
              </a:extLst>
            </p:cNvPr>
            <p:cNvSpPr/>
            <p:nvPr/>
          </p:nvSpPr>
          <p:spPr>
            <a:xfrm>
              <a:off x="2500139" y="5166569"/>
              <a:ext cx="122807" cy="26733"/>
            </a:xfrm>
            <a:custGeom>
              <a:avLst/>
              <a:gdLst>
                <a:gd name="connsiteX0" fmla="*/ 122807 w 122807"/>
                <a:gd name="connsiteY0" fmla="*/ 0 h 26733"/>
                <a:gd name="connsiteX1" fmla="*/ 0 w 122807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6733">
                  <a:moveTo>
                    <a:pt x="122807" y="0"/>
                  </a:moveTo>
                  <a:lnTo>
                    <a:pt x="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3" name="Freeform: Shape 912">
              <a:extLst>
                <a:ext uri="{FF2B5EF4-FFF2-40B4-BE49-F238E27FC236}">
                  <a16:creationId xmlns:a16="http://schemas.microsoft.com/office/drawing/2014/main" id="{D963AEC0-0635-4CFE-8851-57C159480558}"/>
                </a:ext>
              </a:extLst>
            </p:cNvPr>
            <p:cNvSpPr/>
            <p:nvPr/>
          </p:nvSpPr>
          <p:spPr>
            <a:xfrm>
              <a:off x="6606237" y="2207226"/>
              <a:ext cx="123085" cy="58758"/>
            </a:xfrm>
            <a:custGeom>
              <a:avLst/>
              <a:gdLst>
                <a:gd name="connsiteX0" fmla="*/ 123085 w 123085"/>
                <a:gd name="connsiteY0" fmla="*/ 0 h 58758"/>
                <a:gd name="connsiteX1" fmla="*/ 0 w 123085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8758">
                  <a:moveTo>
                    <a:pt x="123085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4" name="Freeform: Shape 913">
              <a:extLst>
                <a:ext uri="{FF2B5EF4-FFF2-40B4-BE49-F238E27FC236}">
                  <a16:creationId xmlns:a16="http://schemas.microsoft.com/office/drawing/2014/main" id="{94904BDC-A649-4AF9-B493-137B953DDB48}"/>
                </a:ext>
              </a:extLst>
            </p:cNvPr>
            <p:cNvSpPr/>
            <p:nvPr/>
          </p:nvSpPr>
          <p:spPr>
            <a:xfrm>
              <a:off x="9571149" y="3113380"/>
              <a:ext cx="122807" cy="53467"/>
            </a:xfrm>
            <a:custGeom>
              <a:avLst/>
              <a:gdLst>
                <a:gd name="connsiteX0" fmla="*/ 122807 w 122807"/>
                <a:gd name="connsiteY0" fmla="*/ 0 h 53467"/>
                <a:gd name="connsiteX1" fmla="*/ 0 w 122807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53467">
                  <a:moveTo>
                    <a:pt x="122807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5" name="Freeform: Shape 914">
              <a:extLst>
                <a:ext uri="{FF2B5EF4-FFF2-40B4-BE49-F238E27FC236}">
                  <a16:creationId xmlns:a16="http://schemas.microsoft.com/office/drawing/2014/main" id="{B406CB48-616A-4715-8CDB-1A9BEF44B2D4}"/>
                </a:ext>
              </a:extLst>
            </p:cNvPr>
            <p:cNvSpPr/>
            <p:nvPr/>
          </p:nvSpPr>
          <p:spPr>
            <a:xfrm>
              <a:off x="2270119" y="5631899"/>
              <a:ext cx="123085" cy="10582"/>
            </a:xfrm>
            <a:custGeom>
              <a:avLst/>
              <a:gdLst>
                <a:gd name="connsiteX0" fmla="*/ 123086 w 123085"/>
                <a:gd name="connsiteY0" fmla="*/ 0 h 10582"/>
                <a:gd name="connsiteX1" fmla="*/ 0 w 123085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0582">
                  <a:moveTo>
                    <a:pt x="123086" y="0"/>
                  </a:moveTo>
                  <a:lnTo>
                    <a:pt x="0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6" name="Freeform: Shape 915">
              <a:extLst>
                <a:ext uri="{FF2B5EF4-FFF2-40B4-BE49-F238E27FC236}">
                  <a16:creationId xmlns:a16="http://schemas.microsoft.com/office/drawing/2014/main" id="{3704D74F-E8C1-4ECD-B0D1-E55FB9286089}"/>
                </a:ext>
              </a:extLst>
            </p:cNvPr>
            <p:cNvSpPr/>
            <p:nvPr/>
          </p:nvSpPr>
          <p:spPr>
            <a:xfrm>
              <a:off x="6376496" y="2204441"/>
              <a:ext cx="122807" cy="61542"/>
            </a:xfrm>
            <a:custGeom>
              <a:avLst/>
              <a:gdLst>
                <a:gd name="connsiteX0" fmla="*/ 122807 w 122807"/>
                <a:gd name="connsiteY0" fmla="*/ 0 h 61542"/>
                <a:gd name="connsiteX1" fmla="*/ 0 w 122807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1542">
                  <a:moveTo>
                    <a:pt x="122807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7" name="Freeform: Shape 916">
              <a:extLst>
                <a:ext uri="{FF2B5EF4-FFF2-40B4-BE49-F238E27FC236}">
                  <a16:creationId xmlns:a16="http://schemas.microsoft.com/office/drawing/2014/main" id="{0CEBADD5-2E89-4B7A-848E-F24A53FED46A}"/>
                </a:ext>
              </a:extLst>
            </p:cNvPr>
            <p:cNvSpPr/>
            <p:nvPr/>
          </p:nvSpPr>
          <p:spPr>
            <a:xfrm>
              <a:off x="3184349" y="3134822"/>
              <a:ext cx="123085" cy="32024"/>
            </a:xfrm>
            <a:custGeom>
              <a:avLst/>
              <a:gdLst>
                <a:gd name="connsiteX0" fmla="*/ 123085 w 123085"/>
                <a:gd name="connsiteY0" fmla="*/ 0 h 32024"/>
                <a:gd name="connsiteX1" fmla="*/ 0 w 123085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2024">
                  <a:moveTo>
                    <a:pt x="123085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8" name="Freeform: Shape 917">
              <a:extLst>
                <a:ext uri="{FF2B5EF4-FFF2-40B4-BE49-F238E27FC236}">
                  <a16:creationId xmlns:a16="http://schemas.microsoft.com/office/drawing/2014/main" id="{9085A04B-44AF-4DF8-94E8-4A223021A75B}"/>
                </a:ext>
              </a:extLst>
            </p:cNvPr>
            <p:cNvSpPr/>
            <p:nvPr/>
          </p:nvSpPr>
          <p:spPr>
            <a:xfrm>
              <a:off x="7745196" y="2201935"/>
              <a:ext cx="122807" cy="64049"/>
            </a:xfrm>
            <a:custGeom>
              <a:avLst/>
              <a:gdLst>
                <a:gd name="connsiteX0" fmla="*/ 122807 w 122807"/>
                <a:gd name="connsiteY0" fmla="*/ 0 h 64049"/>
                <a:gd name="connsiteX1" fmla="*/ 0 w 122807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4049">
                  <a:moveTo>
                    <a:pt x="122807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9" name="Freeform: Shape 918">
              <a:extLst>
                <a:ext uri="{FF2B5EF4-FFF2-40B4-BE49-F238E27FC236}">
                  <a16:creationId xmlns:a16="http://schemas.microsoft.com/office/drawing/2014/main" id="{665C12F4-ACBA-4D82-9420-449EC470C083}"/>
                </a:ext>
              </a:extLst>
            </p:cNvPr>
            <p:cNvSpPr/>
            <p:nvPr/>
          </p:nvSpPr>
          <p:spPr>
            <a:xfrm>
              <a:off x="9798384" y="3145683"/>
              <a:ext cx="122807" cy="21164"/>
            </a:xfrm>
            <a:custGeom>
              <a:avLst/>
              <a:gdLst>
                <a:gd name="connsiteX0" fmla="*/ 122807 w 122807"/>
                <a:gd name="connsiteY0" fmla="*/ 0 h 21164"/>
                <a:gd name="connsiteX1" fmla="*/ 0 w 122807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1164">
                  <a:moveTo>
                    <a:pt x="122807" y="0"/>
                  </a:moveTo>
                  <a:lnTo>
                    <a:pt x="0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0" name="Freeform: Shape 919">
              <a:extLst>
                <a:ext uri="{FF2B5EF4-FFF2-40B4-BE49-F238E27FC236}">
                  <a16:creationId xmlns:a16="http://schemas.microsoft.com/office/drawing/2014/main" id="{09D586AA-6215-457E-9403-34628B5C5251}"/>
                </a:ext>
              </a:extLst>
            </p:cNvPr>
            <p:cNvSpPr/>
            <p:nvPr/>
          </p:nvSpPr>
          <p:spPr>
            <a:xfrm>
              <a:off x="7060707" y="2421094"/>
              <a:ext cx="123085" cy="69618"/>
            </a:xfrm>
            <a:custGeom>
              <a:avLst/>
              <a:gdLst>
                <a:gd name="connsiteX0" fmla="*/ 123085 w 123085"/>
                <a:gd name="connsiteY0" fmla="*/ 0 h 69618"/>
                <a:gd name="connsiteX1" fmla="*/ 0 w 123085"/>
                <a:gd name="connsiteY1" fmla="*/ 69619 h 6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69618">
                  <a:moveTo>
                    <a:pt x="123085" y="0"/>
                  </a:moveTo>
                  <a:lnTo>
                    <a:pt x="0" y="696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1" name="Freeform: Shape 920">
              <a:extLst>
                <a:ext uri="{FF2B5EF4-FFF2-40B4-BE49-F238E27FC236}">
                  <a16:creationId xmlns:a16="http://schemas.microsoft.com/office/drawing/2014/main" id="{718D2657-5F4D-4482-8E15-400549535F55}"/>
                </a:ext>
              </a:extLst>
            </p:cNvPr>
            <p:cNvSpPr/>
            <p:nvPr/>
          </p:nvSpPr>
          <p:spPr>
            <a:xfrm>
              <a:off x="6376496" y="2415803"/>
              <a:ext cx="122807" cy="74909"/>
            </a:xfrm>
            <a:custGeom>
              <a:avLst/>
              <a:gdLst>
                <a:gd name="connsiteX0" fmla="*/ 122807 w 122807"/>
                <a:gd name="connsiteY0" fmla="*/ 0 h 74909"/>
                <a:gd name="connsiteX1" fmla="*/ 0 w 122807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74909">
                  <a:moveTo>
                    <a:pt x="122807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2" name="Freeform: Shape 921">
              <a:extLst>
                <a:ext uri="{FF2B5EF4-FFF2-40B4-BE49-F238E27FC236}">
                  <a16:creationId xmlns:a16="http://schemas.microsoft.com/office/drawing/2014/main" id="{3CEC9505-4AFD-48F6-AB96-09CD882AF54A}"/>
                </a:ext>
              </a:extLst>
            </p:cNvPr>
            <p:cNvSpPr/>
            <p:nvPr/>
          </p:nvSpPr>
          <p:spPr>
            <a:xfrm>
              <a:off x="4550542" y="632734"/>
              <a:ext cx="122807" cy="58758"/>
            </a:xfrm>
            <a:custGeom>
              <a:avLst/>
              <a:gdLst>
                <a:gd name="connsiteX0" fmla="*/ 122807 w 122807"/>
                <a:gd name="connsiteY0" fmla="*/ 0 h 58758"/>
                <a:gd name="connsiteX1" fmla="*/ 0 w 122807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58758">
                  <a:moveTo>
                    <a:pt x="122807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3" name="Freeform: Shape 922">
              <a:extLst>
                <a:ext uri="{FF2B5EF4-FFF2-40B4-BE49-F238E27FC236}">
                  <a16:creationId xmlns:a16="http://schemas.microsoft.com/office/drawing/2014/main" id="{D11465E7-80BF-4DCA-8603-2FD62F18E601}"/>
                </a:ext>
              </a:extLst>
            </p:cNvPr>
            <p:cNvSpPr/>
            <p:nvPr/>
          </p:nvSpPr>
          <p:spPr>
            <a:xfrm>
              <a:off x="4087997" y="1022876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4" name="Freeform: Shape 923">
              <a:extLst>
                <a:ext uri="{FF2B5EF4-FFF2-40B4-BE49-F238E27FC236}">
                  <a16:creationId xmlns:a16="http://schemas.microsoft.com/office/drawing/2014/main" id="{0B7E4A95-65F0-41D9-9E29-A86DF0A9C17A}"/>
                </a:ext>
              </a:extLst>
            </p:cNvPr>
            <p:cNvSpPr/>
            <p:nvPr/>
          </p:nvSpPr>
          <p:spPr>
            <a:xfrm>
              <a:off x="6830966" y="2423878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5" name="Freeform: Shape 924">
              <a:extLst>
                <a:ext uri="{FF2B5EF4-FFF2-40B4-BE49-F238E27FC236}">
                  <a16:creationId xmlns:a16="http://schemas.microsoft.com/office/drawing/2014/main" id="{11C2878E-DB9B-490B-BA1A-1DC7297F30DC}"/>
                </a:ext>
              </a:extLst>
            </p:cNvPr>
            <p:cNvSpPr/>
            <p:nvPr/>
          </p:nvSpPr>
          <p:spPr>
            <a:xfrm>
              <a:off x="8883876" y="5409955"/>
              <a:ext cx="123085" cy="8075"/>
            </a:xfrm>
            <a:custGeom>
              <a:avLst/>
              <a:gdLst>
                <a:gd name="connsiteX0" fmla="*/ 123085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6" name="Freeform: Shape 925">
              <a:extLst>
                <a:ext uri="{FF2B5EF4-FFF2-40B4-BE49-F238E27FC236}">
                  <a16:creationId xmlns:a16="http://schemas.microsoft.com/office/drawing/2014/main" id="{5FDC346F-24A0-423B-8B5E-508ABA6AEBA4}"/>
                </a:ext>
              </a:extLst>
            </p:cNvPr>
            <p:cNvSpPr/>
            <p:nvPr/>
          </p:nvSpPr>
          <p:spPr>
            <a:xfrm>
              <a:off x="6830966" y="2215301"/>
              <a:ext cx="120300" cy="55973"/>
            </a:xfrm>
            <a:custGeom>
              <a:avLst/>
              <a:gdLst>
                <a:gd name="connsiteX0" fmla="*/ 120301 w 120300"/>
                <a:gd name="connsiteY0" fmla="*/ 0 h 55973"/>
                <a:gd name="connsiteX1" fmla="*/ 0 w 120300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5973">
                  <a:moveTo>
                    <a:pt x="120301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7" name="Freeform: Shape 926">
              <a:extLst>
                <a:ext uri="{FF2B5EF4-FFF2-40B4-BE49-F238E27FC236}">
                  <a16:creationId xmlns:a16="http://schemas.microsoft.com/office/drawing/2014/main" id="{3D6291FC-AE05-44E0-AD51-B5513D70D5D0}"/>
                </a:ext>
              </a:extLst>
            </p:cNvPr>
            <p:cNvSpPr/>
            <p:nvPr/>
          </p:nvSpPr>
          <p:spPr>
            <a:xfrm>
              <a:off x="5686716" y="4215023"/>
              <a:ext cx="122807" cy="77415"/>
            </a:xfrm>
            <a:custGeom>
              <a:avLst/>
              <a:gdLst>
                <a:gd name="connsiteX0" fmla="*/ 122807 w 122807"/>
                <a:gd name="connsiteY0" fmla="*/ 0 h 77415"/>
                <a:gd name="connsiteX1" fmla="*/ 0 w 122807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77415">
                  <a:moveTo>
                    <a:pt x="122807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8" name="Freeform: Shape 927">
              <a:extLst>
                <a:ext uri="{FF2B5EF4-FFF2-40B4-BE49-F238E27FC236}">
                  <a16:creationId xmlns:a16="http://schemas.microsoft.com/office/drawing/2014/main" id="{92DF28FE-8710-42D4-A44C-C4F1D4ADD4EC}"/>
                </a:ext>
              </a:extLst>
            </p:cNvPr>
            <p:cNvSpPr/>
            <p:nvPr/>
          </p:nvSpPr>
          <p:spPr>
            <a:xfrm>
              <a:off x="7969646" y="5642481"/>
              <a:ext cx="123085" cy="2784"/>
            </a:xfrm>
            <a:custGeom>
              <a:avLst/>
              <a:gdLst>
                <a:gd name="connsiteX0" fmla="*/ 123086 w 123085"/>
                <a:gd name="connsiteY0" fmla="*/ 0 h 2784"/>
                <a:gd name="connsiteX1" fmla="*/ 0 w 123085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123086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9" name="Freeform: Shape 928">
              <a:extLst>
                <a:ext uri="{FF2B5EF4-FFF2-40B4-BE49-F238E27FC236}">
                  <a16:creationId xmlns:a16="http://schemas.microsoft.com/office/drawing/2014/main" id="{F6E0C348-0C06-4964-829C-AC4239F8BFDB}"/>
                </a:ext>
              </a:extLst>
            </p:cNvPr>
            <p:cNvSpPr/>
            <p:nvPr/>
          </p:nvSpPr>
          <p:spPr>
            <a:xfrm>
              <a:off x="7060707" y="5626329"/>
              <a:ext cx="123085" cy="16151"/>
            </a:xfrm>
            <a:custGeom>
              <a:avLst/>
              <a:gdLst>
                <a:gd name="connsiteX0" fmla="*/ 123085 w 123085"/>
                <a:gd name="connsiteY0" fmla="*/ 0 h 16151"/>
                <a:gd name="connsiteX1" fmla="*/ 0 w 123085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5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0" name="Freeform: Shape 929">
              <a:extLst>
                <a:ext uri="{FF2B5EF4-FFF2-40B4-BE49-F238E27FC236}">
                  <a16:creationId xmlns:a16="http://schemas.microsoft.com/office/drawing/2014/main" id="{13618209-C43D-43F0-BCA4-7D2436B980DC}"/>
                </a:ext>
              </a:extLst>
            </p:cNvPr>
            <p:cNvSpPr/>
            <p:nvPr/>
          </p:nvSpPr>
          <p:spPr>
            <a:xfrm>
              <a:off x="2270119" y="5409955"/>
              <a:ext cx="123085" cy="8075"/>
            </a:xfrm>
            <a:custGeom>
              <a:avLst/>
              <a:gdLst>
                <a:gd name="connsiteX0" fmla="*/ 123086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6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1" name="Freeform: Shape 930">
              <a:extLst>
                <a:ext uri="{FF2B5EF4-FFF2-40B4-BE49-F238E27FC236}">
                  <a16:creationId xmlns:a16="http://schemas.microsoft.com/office/drawing/2014/main" id="{A8C067E7-2C68-4DD5-9E6F-4F9F67C5F927}"/>
                </a:ext>
              </a:extLst>
            </p:cNvPr>
            <p:cNvSpPr/>
            <p:nvPr/>
          </p:nvSpPr>
          <p:spPr>
            <a:xfrm>
              <a:off x="7515176" y="5401879"/>
              <a:ext cx="123085" cy="16151"/>
            </a:xfrm>
            <a:custGeom>
              <a:avLst/>
              <a:gdLst>
                <a:gd name="connsiteX0" fmla="*/ 123085 w 123085"/>
                <a:gd name="connsiteY0" fmla="*/ 0 h 16151"/>
                <a:gd name="connsiteX1" fmla="*/ 0 w 123085"/>
                <a:gd name="connsiteY1" fmla="*/ 16152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5" y="0"/>
                  </a:moveTo>
                  <a:lnTo>
                    <a:pt x="0" y="161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2" name="Freeform: Shape 931">
              <a:extLst>
                <a:ext uri="{FF2B5EF4-FFF2-40B4-BE49-F238E27FC236}">
                  <a16:creationId xmlns:a16="http://schemas.microsoft.com/office/drawing/2014/main" id="{DC846584-C39E-4C9B-9AD2-B2DF82C70621}"/>
                </a:ext>
              </a:extLst>
            </p:cNvPr>
            <p:cNvSpPr/>
            <p:nvPr/>
          </p:nvSpPr>
          <p:spPr>
            <a:xfrm>
              <a:off x="1580339" y="1696504"/>
              <a:ext cx="88276" cy="120300"/>
            </a:xfrm>
            <a:custGeom>
              <a:avLst/>
              <a:gdLst>
                <a:gd name="connsiteX0" fmla="*/ 88276 w 88276"/>
                <a:gd name="connsiteY0" fmla="*/ 0 h 120300"/>
                <a:gd name="connsiteX1" fmla="*/ 0 w 88276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0300">
                  <a:moveTo>
                    <a:pt x="88276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3" name="Freeform: Shape 932">
              <a:extLst>
                <a:ext uri="{FF2B5EF4-FFF2-40B4-BE49-F238E27FC236}">
                  <a16:creationId xmlns:a16="http://schemas.microsoft.com/office/drawing/2014/main" id="{993836FE-8B37-4F59-AB7F-0E4BB25F5173}"/>
                </a:ext>
              </a:extLst>
            </p:cNvPr>
            <p:cNvSpPr/>
            <p:nvPr/>
          </p:nvSpPr>
          <p:spPr>
            <a:xfrm>
              <a:off x="7515176" y="2215301"/>
              <a:ext cx="120300" cy="55973"/>
            </a:xfrm>
            <a:custGeom>
              <a:avLst/>
              <a:gdLst>
                <a:gd name="connsiteX0" fmla="*/ 120300 w 120300"/>
                <a:gd name="connsiteY0" fmla="*/ 0 h 55973"/>
                <a:gd name="connsiteX1" fmla="*/ 0 w 120300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5973">
                  <a:moveTo>
                    <a:pt x="120300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4" name="Freeform: Shape 933">
              <a:extLst>
                <a:ext uri="{FF2B5EF4-FFF2-40B4-BE49-F238E27FC236}">
                  <a16:creationId xmlns:a16="http://schemas.microsoft.com/office/drawing/2014/main" id="{9D2CE982-CB71-48AB-9AFF-69ECEDAD62EF}"/>
                </a:ext>
              </a:extLst>
            </p:cNvPr>
            <p:cNvSpPr/>
            <p:nvPr/>
          </p:nvSpPr>
          <p:spPr>
            <a:xfrm>
              <a:off x="6600946" y="1584279"/>
              <a:ext cx="123085" cy="8075"/>
            </a:xfrm>
            <a:custGeom>
              <a:avLst/>
              <a:gdLst>
                <a:gd name="connsiteX0" fmla="*/ 123086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6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5" name="Freeform: Shape 934">
              <a:extLst>
                <a:ext uri="{FF2B5EF4-FFF2-40B4-BE49-F238E27FC236}">
                  <a16:creationId xmlns:a16="http://schemas.microsoft.com/office/drawing/2014/main" id="{A611CAA4-7AFC-4778-AFF6-8F3E52EE874C}"/>
                </a:ext>
              </a:extLst>
            </p:cNvPr>
            <p:cNvSpPr/>
            <p:nvPr/>
          </p:nvSpPr>
          <p:spPr>
            <a:xfrm>
              <a:off x="5464772" y="3094722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6" name="Freeform: Shape 935">
              <a:extLst>
                <a:ext uri="{FF2B5EF4-FFF2-40B4-BE49-F238E27FC236}">
                  <a16:creationId xmlns:a16="http://schemas.microsoft.com/office/drawing/2014/main" id="{04F27FEA-CBE2-40C9-954C-00B57F550A94}"/>
                </a:ext>
              </a:extLst>
            </p:cNvPr>
            <p:cNvSpPr/>
            <p:nvPr/>
          </p:nvSpPr>
          <p:spPr>
            <a:xfrm>
              <a:off x="5919242" y="3089431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7" name="Freeform: Shape 936">
              <a:extLst>
                <a:ext uri="{FF2B5EF4-FFF2-40B4-BE49-F238E27FC236}">
                  <a16:creationId xmlns:a16="http://schemas.microsoft.com/office/drawing/2014/main" id="{AD7B915D-9F41-4034-8664-C579F0563896}"/>
                </a:ext>
              </a:extLst>
            </p:cNvPr>
            <p:cNvSpPr/>
            <p:nvPr/>
          </p:nvSpPr>
          <p:spPr>
            <a:xfrm>
              <a:off x="7060707" y="5401879"/>
              <a:ext cx="123085" cy="16151"/>
            </a:xfrm>
            <a:custGeom>
              <a:avLst/>
              <a:gdLst>
                <a:gd name="connsiteX0" fmla="*/ 123085 w 123085"/>
                <a:gd name="connsiteY0" fmla="*/ 0 h 16151"/>
                <a:gd name="connsiteX1" fmla="*/ 0 w 123085"/>
                <a:gd name="connsiteY1" fmla="*/ 16152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5" y="0"/>
                  </a:moveTo>
                  <a:lnTo>
                    <a:pt x="0" y="161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8" name="Freeform: Shape 937">
              <a:extLst>
                <a:ext uri="{FF2B5EF4-FFF2-40B4-BE49-F238E27FC236}">
                  <a16:creationId xmlns:a16="http://schemas.microsoft.com/office/drawing/2014/main" id="{1BBA6AED-991A-406E-84FB-AEA2FB0B211F}"/>
                </a:ext>
              </a:extLst>
            </p:cNvPr>
            <p:cNvSpPr/>
            <p:nvPr/>
          </p:nvSpPr>
          <p:spPr>
            <a:xfrm>
              <a:off x="9568365" y="2482636"/>
              <a:ext cx="123085" cy="10582"/>
            </a:xfrm>
            <a:custGeom>
              <a:avLst/>
              <a:gdLst>
                <a:gd name="connsiteX0" fmla="*/ 123085 w 123085"/>
                <a:gd name="connsiteY0" fmla="*/ 0 h 10582"/>
                <a:gd name="connsiteX1" fmla="*/ 0 w 123085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0582">
                  <a:moveTo>
                    <a:pt x="123085" y="0"/>
                  </a:moveTo>
                  <a:lnTo>
                    <a:pt x="0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9" name="Freeform: Shape 938">
              <a:extLst>
                <a:ext uri="{FF2B5EF4-FFF2-40B4-BE49-F238E27FC236}">
                  <a16:creationId xmlns:a16="http://schemas.microsoft.com/office/drawing/2014/main" id="{4BC94FCD-B547-4771-B5E8-81782123D174}"/>
                </a:ext>
              </a:extLst>
            </p:cNvPr>
            <p:cNvSpPr/>
            <p:nvPr/>
          </p:nvSpPr>
          <p:spPr>
            <a:xfrm>
              <a:off x="8883876" y="4910094"/>
              <a:ext cx="120300" cy="61264"/>
            </a:xfrm>
            <a:custGeom>
              <a:avLst/>
              <a:gdLst>
                <a:gd name="connsiteX0" fmla="*/ 120300 w 120300"/>
                <a:gd name="connsiteY0" fmla="*/ 0 h 61264"/>
                <a:gd name="connsiteX1" fmla="*/ 0 w 120300"/>
                <a:gd name="connsiteY1" fmla="*/ 61264 h 61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1264">
                  <a:moveTo>
                    <a:pt x="120300" y="0"/>
                  </a:moveTo>
                  <a:lnTo>
                    <a:pt x="0" y="612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0" name="Freeform: Shape 939">
              <a:extLst>
                <a:ext uri="{FF2B5EF4-FFF2-40B4-BE49-F238E27FC236}">
                  <a16:creationId xmlns:a16="http://schemas.microsoft.com/office/drawing/2014/main" id="{03F100C0-562C-413D-88C2-D14A174EE4FB}"/>
                </a:ext>
              </a:extLst>
            </p:cNvPr>
            <p:cNvSpPr/>
            <p:nvPr/>
          </p:nvSpPr>
          <p:spPr>
            <a:xfrm>
              <a:off x="3863547" y="4206947"/>
              <a:ext cx="122807" cy="85491"/>
            </a:xfrm>
            <a:custGeom>
              <a:avLst/>
              <a:gdLst>
                <a:gd name="connsiteX0" fmla="*/ 122807 w 122807"/>
                <a:gd name="connsiteY0" fmla="*/ 0 h 85491"/>
                <a:gd name="connsiteX1" fmla="*/ 0 w 122807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5491">
                  <a:moveTo>
                    <a:pt x="122807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1" name="Freeform: Shape 940">
              <a:extLst>
                <a:ext uri="{FF2B5EF4-FFF2-40B4-BE49-F238E27FC236}">
                  <a16:creationId xmlns:a16="http://schemas.microsoft.com/office/drawing/2014/main" id="{3E7C84A5-D5EC-418A-9A3E-9E093266DD8C}"/>
                </a:ext>
              </a:extLst>
            </p:cNvPr>
            <p:cNvSpPr/>
            <p:nvPr/>
          </p:nvSpPr>
          <p:spPr>
            <a:xfrm>
              <a:off x="7060707" y="5177429"/>
              <a:ext cx="123085" cy="15873"/>
            </a:xfrm>
            <a:custGeom>
              <a:avLst/>
              <a:gdLst>
                <a:gd name="connsiteX0" fmla="*/ 123085 w 123085"/>
                <a:gd name="connsiteY0" fmla="*/ 0 h 15873"/>
                <a:gd name="connsiteX1" fmla="*/ 0 w 123085"/>
                <a:gd name="connsiteY1" fmla="*/ 15873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5873">
                  <a:moveTo>
                    <a:pt x="123085" y="0"/>
                  </a:moveTo>
                  <a:lnTo>
                    <a:pt x="0" y="158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2" name="Freeform: Shape 941">
              <a:extLst>
                <a:ext uri="{FF2B5EF4-FFF2-40B4-BE49-F238E27FC236}">
                  <a16:creationId xmlns:a16="http://schemas.microsoft.com/office/drawing/2014/main" id="{CA75DFB1-1C84-4A1E-AB3E-F4FC83CC795B}"/>
                </a:ext>
              </a:extLst>
            </p:cNvPr>
            <p:cNvSpPr/>
            <p:nvPr/>
          </p:nvSpPr>
          <p:spPr>
            <a:xfrm>
              <a:off x="2270119" y="5190796"/>
              <a:ext cx="123085" cy="2506"/>
            </a:xfrm>
            <a:custGeom>
              <a:avLst/>
              <a:gdLst>
                <a:gd name="connsiteX0" fmla="*/ 123086 w 123085"/>
                <a:gd name="connsiteY0" fmla="*/ 0 h 2506"/>
                <a:gd name="connsiteX1" fmla="*/ 0 w 123085"/>
                <a:gd name="connsiteY1" fmla="*/ 2506 h 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506">
                  <a:moveTo>
                    <a:pt x="123086" y="0"/>
                  </a:moveTo>
                  <a:lnTo>
                    <a:pt x="0" y="25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3" name="Freeform: Shape 942">
              <a:extLst>
                <a:ext uri="{FF2B5EF4-FFF2-40B4-BE49-F238E27FC236}">
                  <a16:creationId xmlns:a16="http://schemas.microsoft.com/office/drawing/2014/main" id="{9107BFCE-6AC7-4CFE-9684-28F3CEEB369F}"/>
                </a:ext>
              </a:extLst>
            </p:cNvPr>
            <p:cNvSpPr/>
            <p:nvPr/>
          </p:nvSpPr>
          <p:spPr>
            <a:xfrm>
              <a:off x="446950" y="1576204"/>
              <a:ext cx="122807" cy="16151"/>
            </a:xfrm>
            <a:custGeom>
              <a:avLst/>
              <a:gdLst>
                <a:gd name="connsiteX0" fmla="*/ 122807 w 122807"/>
                <a:gd name="connsiteY0" fmla="*/ 0 h 16151"/>
                <a:gd name="connsiteX1" fmla="*/ 0 w 122807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6151">
                  <a:moveTo>
                    <a:pt x="122807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4" name="Freeform: Shape 943">
              <a:extLst>
                <a:ext uri="{FF2B5EF4-FFF2-40B4-BE49-F238E27FC236}">
                  <a16:creationId xmlns:a16="http://schemas.microsoft.com/office/drawing/2014/main" id="{435AD754-2BE6-43D0-8E06-F6AB1B1E7BDB}"/>
                </a:ext>
              </a:extLst>
            </p:cNvPr>
            <p:cNvSpPr/>
            <p:nvPr/>
          </p:nvSpPr>
          <p:spPr>
            <a:xfrm>
              <a:off x="7287941" y="4910094"/>
              <a:ext cx="123085" cy="58758"/>
            </a:xfrm>
            <a:custGeom>
              <a:avLst/>
              <a:gdLst>
                <a:gd name="connsiteX0" fmla="*/ 123086 w 123085"/>
                <a:gd name="connsiteY0" fmla="*/ 0 h 58758"/>
                <a:gd name="connsiteX1" fmla="*/ 0 w 123085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8758">
                  <a:moveTo>
                    <a:pt x="123086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5" name="Freeform: Shape 944">
              <a:extLst>
                <a:ext uri="{FF2B5EF4-FFF2-40B4-BE49-F238E27FC236}">
                  <a16:creationId xmlns:a16="http://schemas.microsoft.com/office/drawing/2014/main" id="{453D5C51-5290-4140-B9A3-D757A8748FD1}"/>
                </a:ext>
              </a:extLst>
            </p:cNvPr>
            <p:cNvSpPr/>
            <p:nvPr/>
          </p:nvSpPr>
          <p:spPr>
            <a:xfrm>
              <a:off x="6376496" y="1573697"/>
              <a:ext cx="122807" cy="18657"/>
            </a:xfrm>
            <a:custGeom>
              <a:avLst/>
              <a:gdLst>
                <a:gd name="connsiteX0" fmla="*/ 122807 w 122807"/>
                <a:gd name="connsiteY0" fmla="*/ 0 h 18657"/>
                <a:gd name="connsiteX1" fmla="*/ 0 w 122807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8657">
                  <a:moveTo>
                    <a:pt x="122807" y="0"/>
                  </a:moveTo>
                  <a:lnTo>
                    <a:pt x="0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6" name="Freeform: Shape 945">
              <a:extLst>
                <a:ext uri="{FF2B5EF4-FFF2-40B4-BE49-F238E27FC236}">
                  <a16:creationId xmlns:a16="http://schemas.microsoft.com/office/drawing/2014/main" id="{600727A2-CAFF-4557-9269-2B149A16AE48}"/>
                </a:ext>
              </a:extLst>
            </p:cNvPr>
            <p:cNvSpPr/>
            <p:nvPr/>
          </p:nvSpPr>
          <p:spPr>
            <a:xfrm>
              <a:off x="9571149" y="3773920"/>
              <a:ext cx="120300" cy="66833"/>
            </a:xfrm>
            <a:custGeom>
              <a:avLst/>
              <a:gdLst>
                <a:gd name="connsiteX0" fmla="*/ 120301 w 120300"/>
                <a:gd name="connsiteY0" fmla="*/ 0 h 66833"/>
                <a:gd name="connsiteX1" fmla="*/ 0 w 120300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6833">
                  <a:moveTo>
                    <a:pt x="120301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7" name="Freeform: Shape 946">
              <a:extLst>
                <a:ext uri="{FF2B5EF4-FFF2-40B4-BE49-F238E27FC236}">
                  <a16:creationId xmlns:a16="http://schemas.microsoft.com/office/drawing/2014/main" id="{5BF4EB26-C536-45D8-AF04-A593107EF2FA}"/>
                </a:ext>
              </a:extLst>
            </p:cNvPr>
            <p:cNvSpPr/>
            <p:nvPr/>
          </p:nvSpPr>
          <p:spPr>
            <a:xfrm>
              <a:off x="2500139" y="5610456"/>
              <a:ext cx="122807" cy="32024"/>
            </a:xfrm>
            <a:custGeom>
              <a:avLst/>
              <a:gdLst>
                <a:gd name="connsiteX0" fmla="*/ 122807 w 122807"/>
                <a:gd name="connsiteY0" fmla="*/ 0 h 32024"/>
                <a:gd name="connsiteX1" fmla="*/ 0 w 122807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32024">
                  <a:moveTo>
                    <a:pt x="122807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8" name="Freeform: Shape 947">
              <a:extLst>
                <a:ext uri="{FF2B5EF4-FFF2-40B4-BE49-F238E27FC236}">
                  <a16:creationId xmlns:a16="http://schemas.microsoft.com/office/drawing/2014/main" id="{287E08BD-D325-4120-BEB1-D4809B0333CA}"/>
                </a:ext>
              </a:extLst>
            </p:cNvPr>
            <p:cNvSpPr/>
            <p:nvPr/>
          </p:nvSpPr>
          <p:spPr>
            <a:xfrm>
              <a:off x="6603731" y="4920676"/>
              <a:ext cx="122807" cy="48175"/>
            </a:xfrm>
            <a:custGeom>
              <a:avLst/>
              <a:gdLst>
                <a:gd name="connsiteX0" fmla="*/ 122807 w 122807"/>
                <a:gd name="connsiteY0" fmla="*/ 0 h 48175"/>
                <a:gd name="connsiteX1" fmla="*/ 0 w 122807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48175">
                  <a:moveTo>
                    <a:pt x="122807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9" name="Freeform: Shape 948">
              <a:extLst>
                <a:ext uri="{FF2B5EF4-FFF2-40B4-BE49-F238E27FC236}">
                  <a16:creationId xmlns:a16="http://schemas.microsoft.com/office/drawing/2014/main" id="{2606C1C7-2173-41B3-8F24-BBC7722CE836}"/>
                </a:ext>
              </a:extLst>
            </p:cNvPr>
            <p:cNvSpPr/>
            <p:nvPr/>
          </p:nvSpPr>
          <p:spPr>
            <a:xfrm>
              <a:off x="1131161" y="2252617"/>
              <a:ext cx="123085" cy="16151"/>
            </a:xfrm>
            <a:custGeom>
              <a:avLst/>
              <a:gdLst>
                <a:gd name="connsiteX0" fmla="*/ 123085 w 123085"/>
                <a:gd name="connsiteY0" fmla="*/ 0 h 16151"/>
                <a:gd name="connsiteX1" fmla="*/ 0 w 123085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5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0" name="Freeform: Shape 949">
              <a:extLst>
                <a:ext uri="{FF2B5EF4-FFF2-40B4-BE49-F238E27FC236}">
                  <a16:creationId xmlns:a16="http://schemas.microsoft.com/office/drawing/2014/main" id="{12258E5B-5EF1-41F6-924E-D1E380C4C349}"/>
                </a:ext>
              </a:extLst>
            </p:cNvPr>
            <p:cNvSpPr/>
            <p:nvPr/>
          </p:nvSpPr>
          <p:spPr>
            <a:xfrm>
              <a:off x="9338345" y="5190796"/>
              <a:ext cx="123085" cy="5291"/>
            </a:xfrm>
            <a:custGeom>
              <a:avLst/>
              <a:gdLst>
                <a:gd name="connsiteX0" fmla="*/ 123086 w 123085"/>
                <a:gd name="connsiteY0" fmla="*/ 0 h 5291"/>
                <a:gd name="connsiteX1" fmla="*/ 0 w 123085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291">
                  <a:moveTo>
                    <a:pt x="123086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1" name="Freeform: Shape 950">
              <a:extLst>
                <a:ext uri="{FF2B5EF4-FFF2-40B4-BE49-F238E27FC236}">
                  <a16:creationId xmlns:a16="http://schemas.microsoft.com/office/drawing/2014/main" id="{302E2F6C-2F1A-435C-8344-39EED02C84B6}"/>
                </a:ext>
              </a:extLst>
            </p:cNvPr>
            <p:cNvSpPr/>
            <p:nvPr/>
          </p:nvSpPr>
          <p:spPr>
            <a:xfrm>
              <a:off x="9338345" y="2257908"/>
              <a:ext cx="123085" cy="8075"/>
            </a:xfrm>
            <a:custGeom>
              <a:avLst/>
              <a:gdLst>
                <a:gd name="connsiteX0" fmla="*/ 123086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6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2" name="Freeform: Shape 951">
              <a:extLst>
                <a:ext uri="{FF2B5EF4-FFF2-40B4-BE49-F238E27FC236}">
                  <a16:creationId xmlns:a16="http://schemas.microsoft.com/office/drawing/2014/main" id="{30F4B4CA-CD8F-45B5-B00C-35FCA5A22B80}"/>
                </a:ext>
              </a:extLst>
            </p:cNvPr>
            <p:cNvSpPr/>
            <p:nvPr/>
          </p:nvSpPr>
          <p:spPr>
            <a:xfrm>
              <a:off x="8656641" y="5145126"/>
              <a:ext cx="123085" cy="48175"/>
            </a:xfrm>
            <a:custGeom>
              <a:avLst/>
              <a:gdLst>
                <a:gd name="connsiteX0" fmla="*/ 123086 w 123085"/>
                <a:gd name="connsiteY0" fmla="*/ 0 h 48175"/>
                <a:gd name="connsiteX1" fmla="*/ 0 w 123085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48175">
                  <a:moveTo>
                    <a:pt x="12308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3" name="Freeform: Shape 952">
              <a:extLst>
                <a:ext uri="{FF2B5EF4-FFF2-40B4-BE49-F238E27FC236}">
                  <a16:creationId xmlns:a16="http://schemas.microsoft.com/office/drawing/2014/main" id="{55DB50B4-9BF1-47D0-863D-92A87657F46C}"/>
                </a:ext>
              </a:extLst>
            </p:cNvPr>
            <p:cNvSpPr/>
            <p:nvPr/>
          </p:nvSpPr>
          <p:spPr>
            <a:xfrm>
              <a:off x="7974937" y="1806223"/>
              <a:ext cx="123085" cy="13366"/>
            </a:xfrm>
            <a:custGeom>
              <a:avLst/>
              <a:gdLst>
                <a:gd name="connsiteX0" fmla="*/ 123085 w 123085"/>
                <a:gd name="connsiteY0" fmla="*/ 0 h 13366"/>
                <a:gd name="connsiteX1" fmla="*/ 0 w 123085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3366">
                  <a:moveTo>
                    <a:pt x="123085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4" name="Freeform: Shape 953">
              <a:extLst>
                <a:ext uri="{FF2B5EF4-FFF2-40B4-BE49-F238E27FC236}">
                  <a16:creationId xmlns:a16="http://schemas.microsoft.com/office/drawing/2014/main" id="{9836C0DB-36B0-41B9-8E2A-E7102A29718E}"/>
                </a:ext>
              </a:extLst>
            </p:cNvPr>
            <p:cNvSpPr/>
            <p:nvPr/>
          </p:nvSpPr>
          <p:spPr>
            <a:xfrm>
              <a:off x="2727373" y="4925967"/>
              <a:ext cx="122807" cy="42884"/>
            </a:xfrm>
            <a:custGeom>
              <a:avLst/>
              <a:gdLst>
                <a:gd name="connsiteX0" fmla="*/ 122807 w 122807"/>
                <a:gd name="connsiteY0" fmla="*/ 0 h 42884"/>
                <a:gd name="connsiteX1" fmla="*/ 0 w 122807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42884">
                  <a:moveTo>
                    <a:pt x="122807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5" name="Freeform: Shape 954">
              <a:extLst>
                <a:ext uri="{FF2B5EF4-FFF2-40B4-BE49-F238E27FC236}">
                  <a16:creationId xmlns:a16="http://schemas.microsoft.com/office/drawing/2014/main" id="{983F8354-4871-45F8-8D09-6CFE7349836A}"/>
                </a:ext>
              </a:extLst>
            </p:cNvPr>
            <p:cNvSpPr/>
            <p:nvPr/>
          </p:nvSpPr>
          <p:spPr>
            <a:xfrm>
              <a:off x="8429406" y="5139835"/>
              <a:ext cx="123085" cy="53467"/>
            </a:xfrm>
            <a:custGeom>
              <a:avLst/>
              <a:gdLst>
                <a:gd name="connsiteX0" fmla="*/ 123085 w 123085"/>
                <a:gd name="connsiteY0" fmla="*/ 0 h 53467"/>
                <a:gd name="connsiteX1" fmla="*/ 0 w 123085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3467">
                  <a:moveTo>
                    <a:pt x="123085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6" name="Freeform: Shape 955">
              <a:extLst>
                <a:ext uri="{FF2B5EF4-FFF2-40B4-BE49-F238E27FC236}">
                  <a16:creationId xmlns:a16="http://schemas.microsoft.com/office/drawing/2014/main" id="{7DBD1981-D50F-4DC3-BD07-C345C5E731E9}"/>
                </a:ext>
              </a:extLst>
            </p:cNvPr>
            <p:cNvSpPr/>
            <p:nvPr/>
          </p:nvSpPr>
          <p:spPr>
            <a:xfrm>
              <a:off x="7745196" y="5139835"/>
              <a:ext cx="120300" cy="56251"/>
            </a:xfrm>
            <a:custGeom>
              <a:avLst/>
              <a:gdLst>
                <a:gd name="connsiteX0" fmla="*/ 120301 w 120300"/>
                <a:gd name="connsiteY0" fmla="*/ 0 h 56251"/>
                <a:gd name="connsiteX1" fmla="*/ 0 w 120300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6251">
                  <a:moveTo>
                    <a:pt x="120301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7" name="Freeform: Shape 956">
              <a:extLst>
                <a:ext uri="{FF2B5EF4-FFF2-40B4-BE49-F238E27FC236}">
                  <a16:creationId xmlns:a16="http://schemas.microsoft.com/office/drawing/2014/main" id="{D2F91E69-8B8B-44D4-98F4-8BB4CED96886}"/>
                </a:ext>
              </a:extLst>
            </p:cNvPr>
            <p:cNvSpPr/>
            <p:nvPr/>
          </p:nvSpPr>
          <p:spPr>
            <a:xfrm>
              <a:off x="7285435" y="1814299"/>
              <a:ext cx="122807" cy="2506"/>
            </a:xfrm>
            <a:custGeom>
              <a:avLst/>
              <a:gdLst>
                <a:gd name="connsiteX0" fmla="*/ 122807 w 122807"/>
                <a:gd name="connsiteY0" fmla="*/ 0 h 2506"/>
                <a:gd name="connsiteX1" fmla="*/ 0 w 122807"/>
                <a:gd name="connsiteY1" fmla="*/ 2506 h 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506">
                  <a:moveTo>
                    <a:pt x="122807" y="0"/>
                  </a:moveTo>
                  <a:lnTo>
                    <a:pt x="0" y="25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8" name="Freeform: Shape 957">
              <a:extLst>
                <a:ext uri="{FF2B5EF4-FFF2-40B4-BE49-F238E27FC236}">
                  <a16:creationId xmlns:a16="http://schemas.microsoft.com/office/drawing/2014/main" id="{7DFCDFD4-5544-46F0-A2D8-E39A084B0888}"/>
                </a:ext>
              </a:extLst>
            </p:cNvPr>
            <p:cNvSpPr/>
            <p:nvPr/>
          </p:nvSpPr>
          <p:spPr>
            <a:xfrm>
              <a:off x="7515176" y="1816805"/>
              <a:ext cx="123085" cy="2784"/>
            </a:xfrm>
            <a:custGeom>
              <a:avLst/>
              <a:gdLst>
                <a:gd name="connsiteX0" fmla="*/ 123085 w 123085"/>
                <a:gd name="connsiteY0" fmla="*/ 0 h 2784"/>
                <a:gd name="connsiteX1" fmla="*/ 0 w 123085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123085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9" name="Freeform: Shape 958">
              <a:extLst>
                <a:ext uri="{FF2B5EF4-FFF2-40B4-BE49-F238E27FC236}">
                  <a16:creationId xmlns:a16="http://schemas.microsoft.com/office/drawing/2014/main" id="{9EA0C328-21E6-4616-98EE-97A9A73F4214}"/>
                </a:ext>
              </a:extLst>
            </p:cNvPr>
            <p:cNvSpPr/>
            <p:nvPr/>
          </p:nvSpPr>
          <p:spPr>
            <a:xfrm>
              <a:off x="8654135" y="1816805"/>
              <a:ext cx="122807" cy="2784"/>
            </a:xfrm>
            <a:custGeom>
              <a:avLst/>
              <a:gdLst>
                <a:gd name="connsiteX0" fmla="*/ 122807 w 122807"/>
                <a:gd name="connsiteY0" fmla="*/ 0 h 2784"/>
                <a:gd name="connsiteX1" fmla="*/ 0 w 122807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784">
                  <a:moveTo>
                    <a:pt x="122807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0" name="Freeform: Shape 959">
              <a:extLst>
                <a:ext uri="{FF2B5EF4-FFF2-40B4-BE49-F238E27FC236}">
                  <a16:creationId xmlns:a16="http://schemas.microsoft.com/office/drawing/2014/main" id="{9F1AC901-062B-4A39-8548-8929A17F4F34}"/>
                </a:ext>
              </a:extLst>
            </p:cNvPr>
            <p:cNvSpPr/>
            <p:nvPr/>
          </p:nvSpPr>
          <p:spPr>
            <a:xfrm>
              <a:off x="3638819" y="3808451"/>
              <a:ext cx="123085" cy="32302"/>
            </a:xfrm>
            <a:custGeom>
              <a:avLst/>
              <a:gdLst>
                <a:gd name="connsiteX0" fmla="*/ 123086 w 123085"/>
                <a:gd name="connsiteY0" fmla="*/ 0 h 32302"/>
                <a:gd name="connsiteX1" fmla="*/ 0 w 123085"/>
                <a:gd name="connsiteY1" fmla="*/ 32303 h 3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2302">
                  <a:moveTo>
                    <a:pt x="123086" y="0"/>
                  </a:moveTo>
                  <a:lnTo>
                    <a:pt x="0" y="323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1" name="Freeform: Shape 960">
              <a:extLst>
                <a:ext uri="{FF2B5EF4-FFF2-40B4-BE49-F238E27FC236}">
                  <a16:creationId xmlns:a16="http://schemas.microsoft.com/office/drawing/2014/main" id="{72F9EE01-88E7-4864-B3B5-84D79D59CE9E}"/>
                </a:ext>
              </a:extLst>
            </p:cNvPr>
            <p:cNvSpPr/>
            <p:nvPr/>
          </p:nvSpPr>
          <p:spPr>
            <a:xfrm>
              <a:off x="6149261" y="3319451"/>
              <a:ext cx="120300" cy="72124"/>
            </a:xfrm>
            <a:custGeom>
              <a:avLst/>
              <a:gdLst>
                <a:gd name="connsiteX0" fmla="*/ 120300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0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2" name="Freeform: Shape 961">
              <a:extLst>
                <a:ext uri="{FF2B5EF4-FFF2-40B4-BE49-F238E27FC236}">
                  <a16:creationId xmlns:a16="http://schemas.microsoft.com/office/drawing/2014/main" id="{8EE3F86C-0DB6-46D3-A10F-9B6B66C0505A}"/>
                </a:ext>
              </a:extLst>
            </p:cNvPr>
            <p:cNvSpPr/>
            <p:nvPr/>
          </p:nvSpPr>
          <p:spPr>
            <a:xfrm>
              <a:off x="5919242" y="3327248"/>
              <a:ext cx="123085" cy="64327"/>
            </a:xfrm>
            <a:custGeom>
              <a:avLst/>
              <a:gdLst>
                <a:gd name="connsiteX0" fmla="*/ 123086 w 123085"/>
                <a:gd name="connsiteY0" fmla="*/ 0 h 64327"/>
                <a:gd name="connsiteX1" fmla="*/ 0 w 123085"/>
                <a:gd name="connsiteY1" fmla="*/ 64327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64327">
                  <a:moveTo>
                    <a:pt x="123086" y="0"/>
                  </a:moveTo>
                  <a:lnTo>
                    <a:pt x="0" y="643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3" name="Freeform: Shape 962">
              <a:extLst>
                <a:ext uri="{FF2B5EF4-FFF2-40B4-BE49-F238E27FC236}">
                  <a16:creationId xmlns:a16="http://schemas.microsoft.com/office/drawing/2014/main" id="{C277D92D-EDB1-489E-994F-B0646187387E}"/>
                </a:ext>
              </a:extLst>
            </p:cNvPr>
            <p:cNvSpPr/>
            <p:nvPr/>
          </p:nvSpPr>
          <p:spPr>
            <a:xfrm>
              <a:off x="5694792" y="3330033"/>
              <a:ext cx="120300" cy="61542"/>
            </a:xfrm>
            <a:custGeom>
              <a:avLst/>
              <a:gdLst>
                <a:gd name="connsiteX0" fmla="*/ 120301 w 120300"/>
                <a:gd name="connsiteY0" fmla="*/ 0 h 61542"/>
                <a:gd name="connsiteX1" fmla="*/ 0 w 120300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1542">
                  <a:moveTo>
                    <a:pt x="120301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4" name="Freeform: Shape 963">
              <a:extLst>
                <a:ext uri="{FF2B5EF4-FFF2-40B4-BE49-F238E27FC236}">
                  <a16:creationId xmlns:a16="http://schemas.microsoft.com/office/drawing/2014/main" id="{738AF7C5-A82C-4099-B2DD-23024A23B8D7}"/>
                </a:ext>
              </a:extLst>
            </p:cNvPr>
            <p:cNvSpPr/>
            <p:nvPr/>
          </p:nvSpPr>
          <p:spPr>
            <a:xfrm>
              <a:off x="2954608" y="4904525"/>
              <a:ext cx="120300" cy="66833"/>
            </a:xfrm>
            <a:custGeom>
              <a:avLst/>
              <a:gdLst>
                <a:gd name="connsiteX0" fmla="*/ 120301 w 120300"/>
                <a:gd name="connsiteY0" fmla="*/ 0 h 66833"/>
                <a:gd name="connsiteX1" fmla="*/ 8076 w 120300"/>
                <a:gd name="connsiteY1" fmla="*/ 59036 h 66833"/>
                <a:gd name="connsiteX2" fmla="*/ 0 w 120300"/>
                <a:gd name="connsiteY2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0300" h="66833">
                  <a:moveTo>
                    <a:pt x="120301" y="0"/>
                  </a:moveTo>
                  <a:lnTo>
                    <a:pt x="8076" y="59036"/>
                  </a:lnTo>
                  <a:lnTo>
                    <a:pt x="0" y="66834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5" name="Freeform: Shape 964">
              <a:extLst>
                <a:ext uri="{FF2B5EF4-FFF2-40B4-BE49-F238E27FC236}">
                  <a16:creationId xmlns:a16="http://schemas.microsoft.com/office/drawing/2014/main" id="{481C9AFB-0BAE-4976-9B09-63102D2DB657}"/>
                </a:ext>
              </a:extLst>
            </p:cNvPr>
            <p:cNvSpPr/>
            <p:nvPr/>
          </p:nvSpPr>
          <p:spPr>
            <a:xfrm>
              <a:off x="6376496" y="4262921"/>
              <a:ext cx="120300" cy="34809"/>
            </a:xfrm>
            <a:custGeom>
              <a:avLst/>
              <a:gdLst>
                <a:gd name="connsiteX0" fmla="*/ 120301 w 120300"/>
                <a:gd name="connsiteY0" fmla="*/ 0 h 34809"/>
                <a:gd name="connsiteX1" fmla="*/ 0 w 120300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4809">
                  <a:moveTo>
                    <a:pt x="120301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6" name="Freeform: Shape 965">
              <a:extLst>
                <a:ext uri="{FF2B5EF4-FFF2-40B4-BE49-F238E27FC236}">
                  <a16:creationId xmlns:a16="http://schemas.microsoft.com/office/drawing/2014/main" id="{3B7E1915-84FF-413C-8CAF-DEBBB126FC80}"/>
                </a:ext>
              </a:extLst>
            </p:cNvPr>
            <p:cNvSpPr/>
            <p:nvPr/>
          </p:nvSpPr>
          <p:spPr>
            <a:xfrm>
              <a:off x="9798384" y="4506307"/>
              <a:ext cx="122807" cy="13366"/>
            </a:xfrm>
            <a:custGeom>
              <a:avLst/>
              <a:gdLst>
                <a:gd name="connsiteX0" fmla="*/ 122807 w 122807"/>
                <a:gd name="connsiteY0" fmla="*/ 0 h 13366"/>
                <a:gd name="connsiteX1" fmla="*/ 0 w 122807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3366">
                  <a:moveTo>
                    <a:pt x="122807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7" name="Freeform: Shape 966">
              <a:extLst>
                <a:ext uri="{FF2B5EF4-FFF2-40B4-BE49-F238E27FC236}">
                  <a16:creationId xmlns:a16="http://schemas.microsoft.com/office/drawing/2014/main" id="{1D671A8B-286F-464E-B023-0461CB2EDCDC}"/>
                </a:ext>
              </a:extLst>
            </p:cNvPr>
            <p:cNvSpPr/>
            <p:nvPr/>
          </p:nvSpPr>
          <p:spPr>
            <a:xfrm>
              <a:off x="6376496" y="4899234"/>
              <a:ext cx="122807" cy="66833"/>
            </a:xfrm>
            <a:custGeom>
              <a:avLst/>
              <a:gdLst>
                <a:gd name="connsiteX0" fmla="*/ 122807 w 122807"/>
                <a:gd name="connsiteY0" fmla="*/ 0 h 66833"/>
                <a:gd name="connsiteX1" fmla="*/ 0 w 122807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6833">
                  <a:moveTo>
                    <a:pt x="122807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9" name="Freeform: Shape 968">
              <a:extLst>
                <a:ext uri="{FF2B5EF4-FFF2-40B4-BE49-F238E27FC236}">
                  <a16:creationId xmlns:a16="http://schemas.microsoft.com/office/drawing/2014/main" id="{F1883797-94A3-4D12-977F-AC0452330ABE}"/>
                </a:ext>
              </a:extLst>
            </p:cNvPr>
            <p:cNvSpPr/>
            <p:nvPr/>
          </p:nvSpPr>
          <p:spPr>
            <a:xfrm>
              <a:off x="3409078" y="3616025"/>
              <a:ext cx="122807" cy="2784"/>
            </a:xfrm>
            <a:custGeom>
              <a:avLst/>
              <a:gdLst>
                <a:gd name="connsiteX0" fmla="*/ 122807 w 122807"/>
                <a:gd name="connsiteY0" fmla="*/ 0 h 2784"/>
                <a:gd name="connsiteX1" fmla="*/ 0 w 122807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784">
                  <a:moveTo>
                    <a:pt x="122807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0" name="Freeform: Shape 969">
              <a:extLst>
                <a:ext uri="{FF2B5EF4-FFF2-40B4-BE49-F238E27FC236}">
                  <a16:creationId xmlns:a16="http://schemas.microsoft.com/office/drawing/2014/main" id="{EC0EEA8C-10C4-47DC-8C2E-6CEE6466D420}"/>
                </a:ext>
              </a:extLst>
            </p:cNvPr>
            <p:cNvSpPr/>
            <p:nvPr/>
          </p:nvSpPr>
          <p:spPr>
            <a:xfrm>
              <a:off x="2729880" y="4498231"/>
              <a:ext cx="123085" cy="21442"/>
            </a:xfrm>
            <a:custGeom>
              <a:avLst/>
              <a:gdLst>
                <a:gd name="connsiteX0" fmla="*/ 123085 w 123085"/>
                <a:gd name="connsiteY0" fmla="*/ 0 h 21442"/>
                <a:gd name="connsiteX1" fmla="*/ 0 w 123085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1442">
                  <a:moveTo>
                    <a:pt x="123085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1" name="Freeform: Shape 970">
              <a:extLst>
                <a:ext uri="{FF2B5EF4-FFF2-40B4-BE49-F238E27FC236}">
                  <a16:creationId xmlns:a16="http://schemas.microsoft.com/office/drawing/2014/main" id="{DF548408-7A56-4BC2-8147-47748823D23A}"/>
                </a:ext>
              </a:extLst>
            </p:cNvPr>
            <p:cNvSpPr/>
            <p:nvPr/>
          </p:nvSpPr>
          <p:spPr>
            <a:xfrm>
              <a:off x="6606237" y="4487649"/>
              <a:ext cx="123085" cy="32024"/>
            </a:xfrm>
            <a:custGeom>
              <a:avLst/>
              <a:gdLst>
                <a:gd name="connsiteX0" fmla="*/ 123085 w 123085"/>
                <a:gd name="connsiteY0" fmla="*/ 0 h 32024"/>
                <a:gd name="connsiteX1" fmla="*/ 0 w 123085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2024">
                  <a:moveTo>
                    <a:pt x="123085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2" name="Freeform: Shape 971">
              <a:extLst>
                <a:ext uri="{FF2B5EF4-FFF2-40B4-BE49-F238E27FC236}">
                  <a16:creationId xmlns:a16="http://schemas.microsoft.com/office/drawing/2014/main" id="{78F554C1-1881-4B93-9BEC-D45D65866CD1}"/>
                </a:ext>
              </a:extLst>
            </p:cNvPr>
            <p:cNvSpPr/>
            <p:nvPr/>
          </p:nvSpPr>
          <p:spPr>
            <a:xfrm>
              <a:off x="5916457" y="4436688"/>
              <a:ext cx="123085" cy="80200"/>
            </a:xfrm>
            <a:custGeom>
              <a:avLst/>
              <a:gdLst>
                <a:gd name="connsiteX0" fmla="*/ 123086 w 123085"/>
                <a:gd name="connsiteY0" fmla="*/ 0 h 80200"/>
                <a:gd name="connsiteX1" fmla="*/ 0 w 123085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200">
                  <a:moveTo>
                    <a:pt x="12308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3" name="Freeform: Shape 972">
              <a:extLst>
                <a:ext uri="{FF2B5EF4-FFF2-40B4-BE49-F238E27FC236}">
                  <a16:creationId xmlns:a16="http://schemas.microsoft.com/office/drawing/2014/main" id="{B508F184-69DC-4588-8FF2-1E17E71003F8}"/>
                </a:ext>
              </a:extLst>
            </p:cNvPr>
            <p:cNvSpPr/>
            <p:nvPr/>
          </p:nvSpPr>
          <p:spPr>
            <a:xfrm>
              <a:off x="10022834" y="3610734"/>
              <a:ext cx="123085" cy="8075"/>
            </a:xfrm>
            <a:custGeom>
              <a:avLst/>
              <a:gdLst>
                <a:gd name="connsiteX0" fmla="*/ 123085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4" name="Freeform: Shape 973">
              <a:extLst>
                <a:ext uri="{FF2B5EF4-FFF2-40B4-BE49-F238E27FC236}">
                  <a16:creationId xmlns:a16="http://schemas.microsoft.com/office/drawing/2014/main" id="{2778A964-6B3A-4598-B909-5702EF6691CA}"/>
                </a:ext>
              </a:extLst>
            </p:cNvPr>
            <p:cNvSpPr/>
            <p:nvPr/>
          </p:nvSpPr>
          <p:spPr>
            <a:xfrm>
              <a:off x="3638819" y="3605443"/>
              <a:ext cx="123085" cy="10582"/>
            </a:xfrm>
            <a:custGeom>
              <a:avLst/>
              <a:gdLst>
                <a:gd name="connsiteX0" fmla="*/ 123086 w 123085"/>
                <a:gd name="connsiteY0" fmla="*/ 0 h 10582"/>
                <a:gd name="connsiteX1" fmla="*/ 0 w 123085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0582">
                  <a:moveTo>
                    <a:pt x="123086" y="0"/>
                  </a:moveTo>
                  <a:lnTo>
                    <a:pt x="0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5" name="Freeform: Shape 974">
              <a:extLst>
                <a:ext uri="{FF2B5EF4-FFF2-40B4-BE49-F238E27FC236}">
                  <a16:creationId xmlns:a16="http://schemas.microsoft.com/office/drawing/2014/main" id="{85DC30D8-5507-4099-9ACA-A3024C75947A}"/>
                </a:ext>
              </a:extLst>
            </p:cNvPr>
            <p:cNvSpPr/>
            <p:nvPr/>
          </p:nvSpPr>
          <p:spPr>
            <a:xfrm>
              <a:off x="3638819" y="3375424"/>
              <a:ext cx="123085" cy="16151"/>
            </a:xfrm>
            <a:custGeom>
              <a:avLst/>
              <a:gdLst>
                <a:gd name="connsiteX0" fmla="*/ 123086 w 123085"/>
                <a:gd name="connsiteY0" fmla="*/ 0 h 16151"/>
                <a:gd name="connsiteX1" fmla="*/ 0 w 123085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6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6" name="Freeform: Shape 975">
              <a:extLst>
                <a:ext uri="{FF2B5EF4-FFF2-40B4-BE49-F238E27FC236}">
                  <a16:creationId xmlns:a16="http://schemas.microsoft.com/office/drawing/2014/main" id="{AB50292E-AEF3-4B90-A462-C43EC7B077FC}"/>
                </a:ext>
              </a:extLst>
            </p:cNvPr>
            <p:cNvSpPr/>
            <p:nvPr/>
          </p:nvSpPr>
          <p:spPr>
            <a:xfrm>
              <a:off x="3409078" y="3380715"/>
              <a:ext cx="122807" cy="13366"/>
            </a:xfrm>
            <a:custGeom>
              <a:avLst/>
              <a:gdLst>
                <a:gd name="connsiteX0" fmla="*/ 122807 w 122807"/>
                <a:gd name="connsiteY0" fmla="*/ 0 h 13366"/>
                <a:gd name="connsiteX1" fmla="*/ 0 w 122807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3366">
                  <a:moveTo>
                    <a:pt x="122807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7" name="Freeform: Shape 976">
              <a:extLst>
                <a:ext uri="{FF2B5EF4-FFF2-40B4-BE49-F238E27FC236}">
                  <a16:creationId xmlns:a16="http://schemas.microsoft.com/office/drawing/2014/main" id="{6BDBDEB9-FB0A-44DA-BC05-8957ABBD391F}"/>
                </a:ext>
              </a:extLst>
            </p:cNvPr>
            <p:cNvSpPr/>
            <p:nvPr/>
          </p:nvSpPr>
          <p:spPr>
            <a:xfrm>
              <a:off x="3411584" y="2870272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8" name="Freeform: Shape 977">
              <a:extLst>
                <a:ext uri="{FF2B5EF4-FFF2-40B4-BE49-F238E27FC236}">
                  <a16:creationId xmlns:a16="http://schemas.microsoft.com/office/drawing/2014/main" id="{8E9B953B-A707-4226-836D-2D1B9E9EAB00}"/>
                </a:ext>
              </a:extLst>
            </p:cNvPr>
            <p:cNvSpPr/>
            <p:nvPr/>
          </p:nvSpPr>
          <p:spPr>
            <a:xfrm>
              <a:off x="7515176" y="4893943"/>
              <a:ext cx="120300" cy="77415"/>
            </a:xfrm>
            <a:custGeom>
              <a:avLst/>
              <a:gdLst>
                <a:gd name="connsiteX0" fmla="*/ 120300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0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9" name="Freeform: Shape 978">
              <a:extLst>
                <a:ext uri="{FF2B5EF4-FFF2-40B4-BE49-F238E27FC236}">
                  <a16:creationId xmlns:a16="http://schemas.microsoft.com/office/drawing/2014/main" id="{27D0F853-90C1-4AA8-8FFA-57F1F2FA608B}"/>
                </a:ext>
              </a:extLst>
            </p:cNvPr>
            <p:cNvSpPr/>
            <p:nvPr/>
          </p:nvSpPr>
          <p:spPr>
            <a:xfrm>
              <a:off x="9341130" y="2870272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0" name="Freeform: Shape 979">
              <a:extLst>
                <a:ext uri="{FF2B5EF4-FFF2-40B4-BE49-F238E27FC236}">
                  <a16:creationId xmlns:a16="http://schemas.microsoft.com/office/drawing/2014/main" id="{2A01E99C-D2D9-46D3-9FCB-F59DB62E1D40}"/>
                </a:ext>
              </a:extLst>
            </p:cNvPr>
            <p:cNvSpPr/>
            <p:nvPr/>
          </p:nvSpPr>
          <p:spPr>
            <a:xfrm>
              <a:off x="5916457" y="5073001"/>
              <a:ext cx="96351" cy="123085"/>
            </a:xfrm>
            <a:custGeom>
              <a:avLst/>
              <a:gdLst>
                <a:gd name="connsiteX0" fmla="*/ 96352 w 96351"/>
                <a:gd name="connsiteY0" fmla="*/ 0 h 123085"/>
                <a:gd name="connsiteX1" fmla="*/ 0 w 96351"/>
                <a:gd name="connsiteY1" fmla="*/ 123085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23085">
                  <a:moveTo>
                    <a:pt x="96352" y="0"/>
                  </a:moveTo>
                  <a:lnTo>
                    <a:pt x="0" y="1230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1" name="Freeform: Shape 980">
              <a:extLst>
                <a:ext uri="{FF2B5EF4-FFF2-40B4-BE49-F238E27FC236}">
                  <a16:creationId xmlns:a16="http://schemas.microsoft.com/office/drawing/2014/main" id="{36939262-35D3-4C14-8AF8-52257C10629D}"/>
                </a:ext>
              </a:extLst>
            </p:cNvPr>
            <p:cNvSpPr/>
            <p:nvPr/>
          </p:nvSpPr>
          <p:spPr>
            <a:xfrm>
              <a:off x="10022834" y="3837969"/>
              <a:ext cx="123085" cy="5291"/>
            </a:xfrm>
            <a:custGeom>
              <a:avLst/>
              <a:gdLst>
                <a:gd name="connsiteX0" fmla="*/ 123085 w 123085"/>
                <a:gd name="connsiteY0" fmla="*/ 0 h 5291"/>
                <a:gd name="connsiteX1" fmla="*/ 0 w 123085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291">
                  <a:moveTo>
                    <a:pt x="123085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2" name="Freeform: Shape 981">
              <a:extLst>
                <a:ext uri="{FF2B5EF4-FFF2-40B4-BE49-F238E27FC236}">
                  <a16:creationId xmlns:a16="http://schemas.microsoft.com/office/drawing/2014/main" id="{67FDED6D-31A9-43EB-9A0E-FD9241ACDAF0}"/>
                </a:ext>
              </a:extLst>
            </p:cNvPr>
            <p:cNvSpPr/>
            <p:nvPr/>
          </p:nvSpPr>
          <p:spPr>
            <a:xfrm>
              <a:off x="6833472" y="4701517"/>
              <a:ext cx="123085" cy="42606"/>
            </a:xfrm>
            <a:custGeom>
              <a:avLst/>
              <a:gdLst>
                <a:gd name="connsiteX0" fmla="*/ 123086 w 123085"/>
                <a:gd name="connsiteY0" fmla="*/ 0 h 42606"/>
                <a:gd name="connsiteX1" fmla="*/ 0 w 123085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42606">
                  <a:moveTo>
                    <a:pt x="123086" y="0"/>
                  </a:moveTo>
                  <a:lnTo>
                    <a:pt x="0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3" name="Freeform: Shape 982">
              <a:extLst>
                <a:ext uri="{FF2B5EF4-FFF2-40B4-BE49-F238E27FC236}">
                  <a16:creationId xmlns:a16="http://schemas.microsoft.com/office/drawing/2014/main" id="{3689224C-506C-4A04-B5A7-020A15B11973}"/>
                </a:ext>
              </a:extLst>
            </p:cNvPr>
            <p:cNvSpPr/>
            <p:nvPr/>
          </p:nvSpPr>
          <p:spPr>
            <a:xfrm>
              <a:off x="6606237" y="4706808"/>
              <a:ext cx="123085" cy="37315"/>
            </a:xfrm>
            <a:custGeom>
              <a:avLst/>
              <a:gdLst>
                <a:gd name="connsiteX0" fmla="*/ 123085 w 123085"/>
                <a:gd name="connsiteY0" fmla="*/ 0 h 37315"/>
                <a:gd name="connsiteX1" fmla="*/ 0 w 123085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7315">
                  <a:moveTo>
                    <a:pt x="123085" y="0"/>
                  </a:moveTo>
                  <a:lnTo>
                    <a:pt x="0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4" name="Freeform: Shape 983">
              <a:extLst>
                <a:ext uri="{FF2B5EF4-FFF2-40B4-BE49-F238E27FC236}">
                  <a16:creationId xmlns:a16="http://schemas.microsoft.com/office/drawing/2014/main" id="{057EAF67-ECE0-4477-AF42-6D6B17803CE9}"/>
                </a:ext>
              </a:extLst>
            </p:cNvPr>
            <p:cNvSpPr/>
            <p:nvPr/>
          </p:nvSpPr>
          <p:spPr>
            <a:xfrm>
              <a:off x="898635" y="795641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5" name="Freeform: Shape 984">
              <a:extLst>
                <a:ext uri="{FF2B5EF4-FFF2-40B4-BE49-F238E27FC236}">
                  <a16:creationId xmlns:a16="http://schemas.microsoft.com/office/drawing/2014/main" id="{4DD137D7-0ECB-40C4-BA71-41F5AA0CE4D2}"/>
                </a:ext>
              </a:extLst>
            </p:cNvPr>
            <p:cNvSpPr/>
            <p:nvPr/>
          </p:nvSpPr>
          <p:spPr>
            <a:xfrm>
              <a:off x="2729880" y="4712099"/>
              <a:ext cx="123085" cy="32024"/>
            </a:xfrm>
            <a:custGeom>
              <a:avLst/>
              <a:gdLst>
                <a:gd name="connsiteX0" fmla="*/ 123085 w 123085"/>
                <a:gd name="connsiteY0" fmla="*/ 0 h 32024"/>
                <a:gd name="connsiteX1" fmla="*/ 0 w 123085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2024">
                  <a:moveTo>
                    <a:pt x="123085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6" name="Freeform: Shape 985">
              <a:extLst>
                <a:ext uri="{FF2B5EF4-FFF2-40B4-BE49-F238E27FC236}">
                  <a16:creationId xmlns:a16="http://schemas.microsoft.com/office/drawing/2014/main" id="{B3FA57A7-872A-4FED-82C0-C42991454DCD}"/>
                </a:ext>
              </a:extLst>
            </p:cNvPr>
            <p:cNvSpPr/>
            <p:nvPr/>
          </p:nvSpPr>
          <p:spPr>
            <a:xfrm>
              <a:off x="8878585" y="4172138"/>
              <a:ext cx="93567" cy="120300"/>
            </a:xfrm>
            <a:custGeom>
              <a:avLst/>
              <a:gdLst>
                <a:gd name="connsiteX0" fmla="*/ 93567 w 93567"/>
                <a:gd name="connsiteY0" fmla="*/ 0 h 120300"/>
                <a:gd name="connsiteX1" fmla="*/ 0 w 93567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20300">
                  <a:moveTo>
                    <a:pt x="93567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7" name="Freeform: Shape 986">
              <a:extLst>
                <a:ext uri="{FF2B5EF4-FFF2-40B4-BE49-F238E27FC236}">
                  <a16:creationId xmlns:a16="http://schemas.microsoft.com/office/drawing/2014/main" id="{9172C0C7-8014-46B0-AD2E-2CD23D737957}"/>
                </a:ext>
              </a:extLst>
            </p:cNvPr>
            <p:cNvSpPr/>
            <p:nvPr/>
          </p:nvSpPr>
          <p:spPr>
            <a:xfrm>
              <a:off x="10022834" y="3388791"/>
              <a:ext cx="123085" cy="5291"/>
            </a:xfrm>
            <a:custGeom>
              <a:avLst/>
              <a:gdLst>
                <a:gd name="connsiteX0" fmla="*/ 123085 w 123085"/>
                <a:gd name="connsiteY0" fmla="*/ 0 h 5291"/>
                <a:gd name="connsiteX1" fmla="*/ 0 w 123085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291">
                  <a:moveTo>
                    <a:pt x="123085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9" name="Freeform: Shape 988">
              <a:extLst>
                <a:ext uri="{FF2B5EF4-FFF2-40B4-BE49-F238E27FC236}">
                  <a16:creationId xmlns:a16="http://schemas.microsoft.com/office/drawing/2014/main" id="{8616CD56-7F02-48F0-B935-811EAC3A6E00}"/>
                </a:ext>
              </a:extLst>
            </p:cNvPr>
            <p:cNvSpPr/>
            <p:nvPr/>
          </p:nvSpPr>
          <p:spPr>
            <a:xfrm>
              <a:off x="9568365" y="4722960"/>
              <a:ext cx="123085" cy="21164"/>
            </a:xfrm>
            <a:custGeom>
              <a:avLst/>
              <a:gdLst>
                <a:gd name="connsiteX0" fmla="*/ 123085 w 123085"/>
                <a:gd name="connsiteY0" fmla="*/ 0 h 21164"/>
                <a:gd name="connsiteX1" fmla="*/ 0 w 123085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1164">
                  <a:moveTo>
                    <a:pt x="123085" y="0"/>
                  </a:moveTo>
                  <a:lnTo>
                    <a:pt x="0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0" name="Freeform: Shape 989">
              <a:extLst>
                <a:ext uri="{FF2B5EF4-FFF2-40B4-BE49-F238E27FC236}">
                  <a16:creationId xmlns:a16="http://schemas.microsoft.com/office/drawing/2014/main" id="{A29867EC-DFCD-4CB4-826C-456D9BA88543}"/>
                </a:ext>
              </a:extLst>
            </p:cNvPr>
            <p:cNvSpPr/>
            <p:nvPr/>
          </p:nvSpPr>
          <p:spPr>
            <a:xfrm>
              <a:off x="3181843" y="2878348"/>
              <a:ext cx="122807" cy="64049"/>
            </a:xfrm>
            <a:custGeom>
              <a:avLst/>
              <a:gdLst>
                <a:gd name="connsiteX0" fmla="*/ 122807 w 122807"/>
                <a:gd name="connsiteY0" fmla="*/ 0 h 64049"/>
                <a:gd name="connsiteX1" fmla="*/ 0 w 122807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4049">
                  <a:moveTo>
                    <a:pt x="122807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1" name="Freeform: Shape 990">
              <a:extLst>
                <a:ext uri="{FF2B5EF4-FFF2-40B4-BE49-F238E27FC236}">
                  <a16:creationId xmlns:a16="http://schemas.microsoft.com/office/drawing/2014/main" id="{1D203D68-20CF-4430-9339-85CE5937F97E}"/>
                </a:ext>
              </a:extLst>
            </p:cNvPr>
            <p:cNvSpPr/>
            <p:nvPr/>
          </p:nvSpPr>
          <p:spPr>
            <a:xfrm>
              <a:off x="2500139" y="4730757"/>
              <a:ext cx="122807" cy="13366"/>
            </a:xfrm>
            <a:custGeom>
              <a:avLst/>
              <a:gdLst>
                <a:gd name="connsiteX0" fmla="*/ 122807 w 122807"/>
                <a:gd name="connsiteY0" fmla="*/ 0 h 13366"/>
                <a:gd name="connsiteX1" fmla="*/ 0 w 122807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3366">
                  <a:moveTo>
                    <a:pt x="122807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2" name="Freeform: Shape 991">
              <a:extLst>
                <a:ext uri="{FF2B5EF4-FFF2-40B4-BE49-F238E27FC236}">
                  <a16:creationId xmlns:a16="http://schemas.microsoft.com/office/drawing/2014/main" id="{76CB6B1E-D93B-4A2A-9C18-119B2C4B114F}"/>
                </a:ext>
              </a:extLst>
            </p:cNvPr>
            <p:cNvSpPr/>
            <p:nvPr/>
          </p:nvSpPr>
          <p:spPr>
            <a:xfrm>
              <a:off x="5461988" y="4618532"/>
              <a:ext cx="91060" cy="123085"/>
            </a:xfrm>
            <a:custGeom>
              <a:avLst/>
              <a:gdLst>
                <a:gd name="connsiteX0" fmla="*/ 91061 w 91060"/>
                <a:gd name="connsiteY0" fmla="*/ 0 h 123085"/>
                <a:gd name="connsiteX1" fmla="*/ 0 w 91060"/>
                <a:gd name="connsiteY1" fmla="*/ 123086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23085">
                  <a:moveTo>
                    <a:pt x="91061" y="0"/>
                  </a:moveTo>
                  <a:lnTo>
                    <a:pt x="0" y="12308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3" name="Freeform: Shape 992">
              <a:extLst>
                <a:ext uri="{FF2B5EF4-FFF2-40B4-BE49-F238E27FC236}">
                  <a16:creationId xmlns:a16="http://schemas.microsoft.com/office/drawing/2014/main" id="{6E13E18F-1180-4DC0-A2E5-3E344376A89E}"/>
                </a:ext>
              </a:extLst>
            </p:cNvPr>
            <p:cNvSpPr/>
            <p:nvPr/>
          </p:nvSpPr>
          <p:spPr>
            <a:xfrm>
              <a:off x="2500139" y="2651113"/>
              <a:ext cx="122807" cy="66833"/>
            </a:xfrm>
            <a:custGeom>
              <a:avLst/>
              <a:gdLst>
                <a:gd name="connsiteX0" fmla="*/ 122807 w 122807"/>
                <a:gd name="connsiteY0" fmla="*/ 0 h 66833"/>
                <a:gd name="connsiteX1" fmla="*/ 0 w 122807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6833">
                  <a:moveTo>
                    <a:pt x="122807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4" name="Freeform: Shape 993">
              <a:extLst>
                <a:ext uri="{FF2B5EF4-FFF2-40B4-BE49-F238E27FC236}">
                  <a16:creationId xmlns:a16="http://schemas.microsoft.com/office/drawing/2014/main" id="{56C83D39-8136-4C7F-AEE6-646D77AB15D4}"/>
                </a:ext>
              </a:extLst>
            </p:cNvPr>
            <p:cNvSpPr/>
            <p:nvPr/>
          </p:nvSpPr>
          <p:spPr>
            <a:xfrm>
              <a:off x="6146477" y="4663923"/>
              <a:ext cx="120300" cy="82985"/>
            </a:xfrm>
            <a:custGeom>
              <a:avLst/>
              <a:gdLst>
                <a:gd name="connsiteX0" fmla="*/ 120300 w 120300"/>
                <a:gd name="connsiteY0" fmla="*/ 0 h 82985"/>
                <a:gd name="connsiteX1" fmla="*/ 0 w 120300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985">
                  <a:moveTo>
                    <a:pt x="12030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5" name="Freeform: Shape 994">
              <a:extLst>
                <a:ext uri="{FF2B5EF4-FFF2-40B4-BE49-F238E27FC236}">
                  <a16:creationId xmlns:a16="http://schemas.microsoft.com/office/drawing/2014/main" id="{6F8DC89B-B2F4-4E40-BD78-787278946792}"/>
                </a:ext>
              </a:extLst>
            </p:cNvPr>
            <p:cNvSpPr/>
            <p:nvPr/>
          </p:nvSpPr>
          <p:spPr>
            <a:xfrm>
              <a:off x="9571149" y="2899512"/>
              <a:ext cx="122807" cy="42884"/>
            </a:xfrm>
            <a:custGeom>
              <a:avLst/>
              <a:gdLst>
                <a:gd name="connsiteX0" fmla="*/ 122807 w 122807"/>
                <a:gd name="connsiteY0" fmla="*/ 0 h 42884"/>
                <a:gd name="connsiteX1" fmla="*/ 0 w 122807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42884">
                  <a:moveTo>
                    <a:pt x="122807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6" name="Freeform: Shape 995">
              <a:extLst>
                <a:ext uri="{FF2B5EF4-FFF2-40B4-BE49-F238E27FC236}">
                  <a16:creationId xmlns:a16="http://schemas.microsoft.com/office/drawing/2014/main" id="{D2EC240C-1A4F-4BB2-9DDA-15A71CBF8819}"/>
                </a:ext>
              </a:extLst>
            </p:cNvPr>
            <p:cNvSpPr/>
            <p:nvPr/>
          </p:nvSpPr>
          <p:spPr>
            <a:xfrm>
              <a:off x="4323308" y="616582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7" name="Freeform: Shape 996">
              <a:extLst>
                <a:ext uri="{FF2B5EF4-FFF2-40B4-BE49-F238E27FC236}">
                  <a16:creationId xmlns:a16="http://schemas.microsoft.com/office/drawing/2014/main" id="{85A51205-20A8-4950-A84F-02341779C7A9}"/>
                </a:ext>
              </a:extLst>
            </p:cNvPr>
            <p:cNvSpPr/>
            <p:nvPr/>
          </p:nvSpPr>
          <p:spPr>
            <a:xfrm>
              <a:off x="671400" y="2041534"/>
              <a:ext cx="123085" cy="2784"/>
            </a:xfrm>
            <a:custGeom>
              <a:avLst/>
              <a:gdLst>
                <a:gd name="connsiteX0" fmla="*/ 0 w 123085"/>
                <a:gd name="connsiteY0" fmla="*/ 0 h 2784"/>
                <a:gd name="connsiteX1" fmla="*/ 123085 w 123085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0" y="0"/>
                  </a:moveTo>
                  <a:lnTo>
                    <a:pt x="123085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8" name="Freeform: Shape 997">
              <a:extLst>
                <a:ext uri="{FF2B5EF4-FFF2-40B4-BE49-F238E27FC236}">
                  <a16:creationId xmlns:a16="http://schemas.microsoft.com/office/drawing/2014/main" id="{817BEE9A-36B4-40B3-AB26-646D36EF7316}"/>
                </a:ext>
              </a:extLst>
            </p:cNvPr>
            <p:cNvSpPr/>
            <p:nvPr/>
          </p:nvSpPr>
          <p:spPr>
            <a:xfrm>
              <a:off x="1815650" y="2699011"/>
              <a:ext cx="123085" cy="18936"/>
            </a:xfrm>
            <a:custGeom>
              <a:avLst/>
              <a:gdLst>
                <a:gd name="connsiteX0" fmla="*/ 123086 w 123085"/>
                <a:gd name="connsiteY0" fmla="*/ 0 h 18936"/>
                <a:gd name="connsiteX1" fmla="*/ 0 w 123085"/>
                <a:gd name="connsiteY1" fmla="*/ 18936 h 18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8936">
                  <a:moveTo>
                    <a:pt x="123086" y="0"/>
                  </a:moveTo>
                  <a:lnTo>
                    <a:pt x="0" y="1893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9" name="Freeform: Shape 998">
              <a:extLst>
                <a:ext uri="{FF2B5EF4-FFF2-40B4-BE49-F238E27FC236}">
                  <a16:creationId xmlns:a16="http://schemas.microsoft.com/office/drawing/2014/main" id="{9C7D1993-B729-4BD1-A68B-C56113432BB4}"/>
                </a:ext>
              </a:extLst>
            </p:cNvPr>
            <p:cNvSpPr/>
            <p:nvPr/>
          </p:nvSpPr>
          <p:spPr>
            <a:xfrm>
              <a:off x="6146477" y="1354538"/>
              <a:ext cx="123085" cy="13366"/>
            </a:xfrm>
            <a:custGeom>
              <a:avLst/>
              <a:gdLst>
                <a:gd name="connsiteX0" fmla="*/ 123085 w 123085"/>
                <a:gd name="connsiteY0" fmla="*/ 0 h 13366"/>
                <a:gd name="connsiteX1" fmla="*/ 0 w 123085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3366">
                  <a:moveTo>
                    <a:pt x="123085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0" name="Freeform: Shape 999">
              <a:extLst>
                <a:ext uri="{FF2B5EF4-FFF2-40B4-BE49-F238E27FC236}">
                  <a16:creationId xmlns:a16="http://schemas.microsoft.com/office/drawing/2014/main" id="{D6A131D4-19C8-4A29-87E5-30BC8D759D06}"/>
                </a:ext>
              </a:extLst>
            </p:cNvPr>
            <p:cNvSpPr/>
            <p:nvPr/>
          </p:nvSpPr>
          <p:spPr>
            <a:xfrm>
              <a:off x="5689222" y="4845767"/>
              <a:ext cx="91060" cy="123085"/>
            </a:xfrm>
            <a:custGeom>
              <a:avLst/>
              <a:gdLst>
                <a:gd name="connsiteX0" fmla="*/ 91061 w 91060"/>
                <a:gd name="connsiteY0" fmla="*/ 0 h 123085"/>
                <a:gd name="connsiteX1" fmla="*/ 0 w 91060"/>
                <a:gd name="connsiteY1" fmla="*/ 123085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23085">
                  <a:moveTo>
                    <a:pt x="91061" y="0"/>
                  </a:moveTo>
                  <a:lnTo>
                    <a:pt x="0" y="1230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1" name="Freeform: Shape 1000">
              <a:extLst>
                <a:ext uri="{FF2B5EF4-FFF2-40B4-BE49-F238E27FC236}">
                  <a16:creationId xmlns:a16="http://schemas.microsoft.com/office/drawing/2014/main" id="{08C63A80-914E-4155-AF92-C52294190461}"/>
                </a:ext>
              </a:extLst>
            </p:cNvPr>
            <p:cNvSpPr/>
            <p:nvPr/>
          </p:nvSpPr>
          <p:spPr>
            <a:xfrm>
              <a:off x="2724589" y="4284363"/>
              <a:ext cx="123085" cy="8075"/>
            </a:xfrm>
            <a:custGeom>
              <a:avLst/>
              <a:gdLst>
                <a:gd name="connsiteX0" fmla="*/ 123085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3" name="Freeform: Shape 1002">
              <a:extLst>
                <a:ext uri="{FF2B5EF4-FFF2-40B4-BE49-F238E27FC236}">
                  <a16:creationId xmlns:a16="http://schemas.microsoft.com/office/drawing/2014/main" id="{0D7F30F2-2930-4249-8B99-0B9E551B43E1}"/>
                </a:ext>
              </a:extLst>
            </p:cNvPr>
            <p:cNvSpPr/>
            <p:nvPr/>
          </p:nvSpPr>
          <p:spPr>
            <a:xfrm>
              <a:off x="7515176" y="2012015"/>
              <a:ext cx="123085" cy="29518"/>
            </a:xfrm>
            <a:custGeom>
              <a:avLst/>
              <a:gdLst>
                <a:gd name="connsiteX0" fmla="*/ 123085 w 123085"/>
                <a:gd name="connsiteY0" fmla="*/ 0 h 29518"/>
                <a:gd name="connsiteX1" fmla="*/ 0 w 123085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9518">
                  <a:moveTo>
                    <a:pt x="123085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4" name="Freeform: Shape 1003">
              <a:extLst>
                <a:ext uri="{FF2B5EF4-FFF2-40B4-BE49-F238E27FC236}">
                  <a16:creationId xmlns:a16="http://schemas.microsoft.com/office/drawing/2014/main" id="{8FBF66CC-3068-409E-9935-BDC6D556B84E}"/>
                </a:ext>
              </a:extLst>
            </p:cNvPr>
            <p:cNvSpPr/>
            <p:nvPr/>
          </p:nvSpPr>
          <p:spPr>
            <a:xfrm>
              <a:off x="446950" y="1333096"/>
              <a:ext cx="122807" cy="32024"/>
            </a:xfrm>
            <a:custGeom>
              <a:avLst/>
              <a:gdLst>
                <a:gd name="connsiteX0" fmla="*/ 122807 w 122807"/>
                <a:gd name="connsiteY0" fmla="*/ 0 h 32024"/>
                <a:gd name="connsiteX1" fmla="*/ 0 w 122807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32024">
                  <a:moveTo>
                    <a:pt x="122807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5" name="Freeform: Shape 1004">
              <a:extLst>
                <a:ext uri="{FF2B5EF4-FFF2-40B4-BE49-F238E27FC236}">
                  <a16:creationId xmlns:a16="http://schemas.microsoft.com/office/drawing/2014/main" id="{C3189B8A-99EC-45A3-BB94-35F8F5852D44}"/>
                </a:ext>
              </a:extLst>
            </p:cNvPr>
            <p:cNvSpPr/>
            <p:nvPr/>
          </p:nvSpPr>
          <p:spPr>
            <a:xfrm>
              <a:off x="9568365" y="4966067"/>
              <a:ext cx="123085" cy="2784"/>
            </a:xfrm>
            <a:custGeom>
              <a:avLst/>
              <a:gdLst>
                <a:gd name="connsiteX0" fmla="*/ 123085 w 123085"/>
                <a:gd name="connsiteY0" fmla="*/ 0 h 2784"/>
                <a:gd name="connsiteX1" fmla="*/ 0 w 123085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123085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6" name="Freeform: Shape 1005">
              <a:extLst>
                <a:ext uri="{FF2B5EF4-FFF2-40B4-BE49-F238E27FC236}">
                  <a16:creationId xmlns:a16="http://schemas.microsoft.com/office/drawing/2014/main" id="{C20DD67D-E9D7-415F-869C-2ADCFA8CEBED}"/>
                </a:ext>
              </a:extLst>
            </p:cNvPr>
            <p:cNvSpPr/>
            <p:nvPr/>
          </p:nvSpPr>
          <p:spPr>
            <a:xfrm>
              <a:off x="5692007" y="3573419"/>
              <a:ext cx="123085" cy="42606"/>
            </a:xfrm>
            <a:custGeom>
              <a:avLst/>
              <a:gdLst>
                <a:gd name="connsiteX0" fmla="*/ 123085 w 123085"/>
                <a:gd name="connsiteY0" fmla="*/ 0 h 42606"/>
                <a:gd name="connsiteX1" fmla="*/ 0 w 123085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42606">
                  <a:moveTo>
                    <a:pt x="123085" y="0"/>
                  </a:moveTo>
                  <a:lnTo>
                    <a:pt x="0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7" name="Freeform: Shape 1006">
              <a:extLst>
                <a:ext uri="{FF2B5EF4-FFF2-40B4-BE49-F238E27FC236}">
                  <a16:creationId xmlns:a16="http://schemas.microsoft.com/office/drawing/2014/main" id="{A1963CD0-3848-447C-A892-FDCB6680B2D6}"/>
                </a:ext>
              </a:extLst>
            </p:cNvPr>
            <p:cNvSpPr/>
            <p:nvPr/>
          </p:nvSpPr>
          <p:spPr>
            <a:xfrm>
              <a:off x="7290726" y="2014800"/>
              <a:ext cx="122807" cy="29239"/>
            </a:xfrm>
            <a:custGeom>
              <a:avLst/>
              <a:gdLst>
                <a:gd name="connsiteX0" fmla="*/ 122807 w 122807"/>
                <a:gd name="connsiteY0" fmla="*/ 0 h 29239"/>
                <a:gd name="connsiteX1" fmla="*/ 0 w 122807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9239">
                  <a:moveTo>
                    <a:pt x="122807" y="0"/>
                  </a:moveTo>
                  <a:lnTo>
                    <a:pt x="0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8" name="Freeform: Shape 1007">
              <a:extLst>
                <a:ext uri="{FF2B5EF4-FFF2-40B4-BE49-F238E27FC236}">
                  <a16:creationId xmlns:a16="http://schemas.microsoft.com/office/drawing/2014/main" id="{CA9DD873-0903-4929-BC8C-117B898584CF}"/>
                </a:ext>
              </a:extLst>
            </p:cNvPr>
            <p:cNvSpPr/>
            <p:nvPr/>
          </p:nvSpPr>
          <p:spPr>
            <a:xfrm>
              <a:off x="6376496" y="4027888"/>
              <a:ext cx="122807" cy="37315"/>
            </a:xfrm>
            <a:custGeom>
              <a:avLst/>
              <a:gdLst>
                <a:gd name="connsiteX0" fmla="*/ 122807 w 122807"/>
                <a:gd name="connsiteY0" fmla="*/ 0 h 37315"/>
                <a:gd name="connsiteX1" fmla="*/ 0 w 122807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37315">
                  <a:moveTo>
                    <a:pt x="122807" y="0"/>
                  </a:moveTo>
                  <a:lnTo>
                    <a:pt x="0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9" name="Freeform: Shape 1008">
              <a:extLst>
                <a:ext uri="{FF2B5EF4-FFF2-40B4-BE49-F238E27FC236}">
                  <a16:creationId xmlns:a16="http://schemas.microsoft.com/office/drawing/2014/main" id="{36AEC988-E4D7-4EF7-86C1-C1D60D4FDE63}"/>
                </a:ext>
              </a:extLst>
            </p:cNvPr>
            <p:cNvSpPr/>
            <p:nvPr/>
          </p:nvSpPr>
          <p:spPr>
            <a:xfrm>
              <a:off x="2954608" y="4059913"/>
              <a:ext cx="122807" cy="8075"/>
            </a:xfrm>
            <a:custGeom>
              <a:avLst/>
              <a:gdLst>
                <a:gd name="connsiteX0" fmla="*/ 122807 w 122807"/>
                <a:gd name="connsiteY0" fmla="*/ 0 h 8075"/>
                <a:gd name="connsiteX1" fmla="*/ 0 w 122807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75">
                  <a:moveTo>
                    <a:pt x="122807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0" name="Freeform: Shape 1009">
              <a:extLst>
                <a:ext uri="{FF2B5EF4-FFF2-40B4-BE49-F238E27FC236}">
                  <a16:creationId xmlns:a16="http://schemas.microsoft.com/office/drawing/2014/main" id="{6E7A01AC-9625-4EFA-B390-962230FEB2DA}"/>
                </a:ext>
              </a:extLst>
            </p:cNvPr>
            <p:cNvSpPr/>
            <p:nvPr/>
          </p:nvSpPr>
          <p:spPr>
            <a:xfrm>
              <a:off x="10022834" y="4067989"/>
              <a:ext cx="123085" cy="2784"/>
            </a:xfrm>
            <a:custGeom>
              <a:avLst/>
              <a:gdLst>
                <a:gd name="connsiteX0" fmla="*/ 123085 w 123085"/>
                <a:gd name="connsiteY0" fmla="*/ 0 h 2784"/>
                <a:gd name="connsiteX1" fmla="*/ 0 w 123085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123085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1" name="Freeform: Shape 1010">
              <a:extLst>
                <a:ext uri="{FF2B5EF4-FFF2-40B4-BE49-F238E27FC236}">
                  <a16:creationId xmlns:a16="http://schemas.microsoft.com/office/drawing/2014/main" id="{DE253E7A-7884-43C4-9904-6CD692CE632A}"/>
                </a:ext>
              </a:extLst>
            </p:cNvPr>
            <p:cNvSpPr/>
            <p:nvPr/>
          </p:nvSpPr>
          <p:spPr>
            <a:xfrm>
              <a:off x="7742411" y="2597646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2" name="Freeform: Shape 1011">
              <a:extLst>
                <a:ext uri="{FF2B5EF4-FFF2-40B4-BE49-F238E27FC236}">
                  <a16:creationId xmlns:a16="http://schemas.microsoft.com/office/drawing/2014/main" id="{C1E28F3D-B49C-42A9-9F7A-7D5BC74DC422}"/>
                </a:ext>
              </a:extLst>
            </p:cNvPr>
            <p:cNvSpPr/>
            <p:nvPr/>
          </p:nvSpPr>
          <p:spPr>
            <a:xfrm>
              <a:off x="676691" y="1792856"/>
              <a:ext cx="123085" cy="23948"/>
            </a:xfrm>
            <a:custGeom>
              <a:avLst/>
              <a:gdLst>
                <a:gd name="connsiteX0" fmla="*/ 123086 w 123085"/>
                <a:gd name="connsiteY0" fmla="*/ 0 h 23948"/>
                <a:gd name="connsiteX1" fmla="*/ 0 w 123085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3948">
                  <a:moveTo>
                    <a:pt x="123086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3" name="Freeform: Shape 1012">
              <a:extLst>
                <a:ext uri="{FF2B5EF4-FFF2-40B4-BE49-F238E27FC236}">
                  <a16:creationId xmlns:a16="http://schemas.microsoft.com/office/drawing/2014/main" id="{034EF22D-6E23-491F-8A55-E33C61481E81}"/>
                </a:ext>
              </a:extLst>
            </p:cNvPr>
            <p:cNvSpPr/>
            <p:nvPr/>
          </p:nvSpPr>
          <p:spPr>
            <a:xfrm>
              <a:off x="8659426" y="2012015"/>
              <a:ext cx="120300" cy="32024"/>
            </a:xfrm>
            <a:custGeom>
              <a:avLst/>
              <a:gdLst>
                <a:gd name="connsiteX0" fmla="*/ 120301 w 120300"/>
                <a:gd name="connsiteY0" fmla="*/ 0 h 32024"/>
                <a:gd name="connsiteX1" fmla="*/ 0 w 120300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024">
                  <a:moveTo>
                    <a:pt x="120301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4" name="Freeform: Shape 1013">
              <a:extLst>
                <a:ext uri="{FF2B5EF4-FFF2-40B4-BE49-F238E27FC236}">
                  <a16:creationId xmlns:a16="http://schemas.microsoft.com/office/drawing/2014/main" id="{DAACAE91-E9FE-45DB-8B88-22F265BCBFB9}"/>
                </a:ext>
              </a:extLst>
            </p:cNvPr>
            <p:cNvSpPr/>
            <p:nvPr/>
          </p:nvSpPr>
          <p:spPr>
            <a:xfrm>
              <a:off x="7974937" y="2001433"/>
              <a:ext cx="120300" cy="40100"/>
            </a:xfrm>
            <a:custGeom>
              <a:avLst/>
              <a:gdLst>
                <a:gd name="connsiteX0" fmla="*/ 120301 w 120300"/>
                <a:gd name="connsiteY0" fmla="*/ 0 h 40100"/>
                <a:gd name="connsiteX1" fmla="*/ 0 w 120300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0100">
                  <a:moveTo>
                    <a:pt x="120301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5" name="Freeform: Shape 1014">
              <a:extLst>
                <a:ext uri="{FF2B5EF4-FFF2-40B4-BE49-F238E27FC236}">
                  <a16:creationId xmlns:a16="http://schemas.microsoft.com/office/drawing/2014/main" id="{880B9484-4ACB-45E7-B6AF-B9A76B2C56F8}"/>
                </a:ext>
              </a:extLst>
            </p:cNvPr>
            <p:cNvSpPr/>
            <p:nvPr/>
          </p:nvSpPr>
          <p:spPr>
            <a:xfrm>
              <a:off x="6146477" y="1985282"/>
              <a:ext cx="120300" cy="56251"/>
            </a:xfrm>
            <a:custGeom>
              <a:avLst/>
              <a:gdLst>
                <a:gd name="connsiteX0" fmla="*/ 120300 w 120300"/>
                <a:gd name="connsiteY0" fmla="*/ 0 h 56251"/>
                <a:gd name="connsiteX1" fmla="*/ 0 w 120300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6251">
                  <a:moveTo>
                    <a:pt x="120300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7" name="Freeform: Shape 1016">
              <a:extLst>
                <a:ext uri="{FF2B5EF4-FFF2-40B4-BE49-F238E27FC236}">
                  <a16:creationId xmlns:a16="http://schemas.microsoft.com/office/drawing/2014/main" id="{BA76445A-7C83-463D-BB9F-1901F596EE27}"/>
                </a:ext>
              </a:extLst>
            </p:cNvPr>
            <p:cNvSpPr/>
            <p:nvPr/>
          </p:nvSpPr>
          <p:spPr>
            <a:xfrm>
              <a:off x="1355889" y="1969409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8" name="Freeform: Shape 1017">
              <a:extLst>
                <a:ext uri="{FF2B5EF4-FFF2-40B4-BE49-F238E27FC236}">
                  <a16:creationId xmlns:a16="http://schemas.microsoft.com/office/drawing/2014/main" id="{2A8E7552-C583-4DC7-BE7A-861EB1F412FD}"/>
                </a:ext>
              </a:extLst>
            </p:cNvPr>
            <p:cNvSpPr/>
            <p:nvPr/>
          </p:nvSpPr>
          <p:spPr>
            <a:xfrm>
              <a:off x="9568365" y="4011737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9" name="Freeform: Shape 1018">
              <a:extLst>
                <a:ext uri="{FF2B5EF4-FFF2-40B4-BE49-F238E27FC236}">
                  <a16:creationId xmlns:a16="http://schemas.microsoft.com/office/drawing/2014/main" id="{95A3A8A6-2785-4594-861B-5487D3D0D318}"/>
                </a:ext>
              </a:extLst>
            </p:cNvPr>
            <p:cNvSpPr/>
            <p:nvPr/>
          </p:nvSpPr>
          <p:spPr>
            <a:xfrm>
              <a:off x="8199665" y="2594861"/>
              <a:ext cx="88276" cy="120300"/>
            </a:xfrm>
            <a:custGeom>
              <a:avLst/>
              <a:gdLst>
                <a:gd name="connsiteX0" fmla="*/ 88276 w 88276"/>
                <a:gd name="connsiteY0" fmla="*/ 0 h 120300"/>
                <a:gd name="connsiteX1" fmla="*/ 0 w 88276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0300">
                  <a:moveTo>
                    <a:pt x="88276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0" name="Freeform: Shape 1019">
              <a:extLst>
                <a:ext uri="{FF2B5EF4-FFF2-40B4-BE49-F238E27FC236}">
                  <a16:creationId xmlns:a16="http://schemas.microsoft.com/office/drawing/2014/main" id="{CF71B0A3-3D62-43CC-B959-B2629BDE40D6}"/>
                </a:ext>
              </a:extLst>
            </p:cNvPr>
            <p:cNvSpPr/>
            <p:nvPr/>
          </p:nvSpPr>
          <p:spPr>
            <a:xfrm>
              <a:off x="2502645" y="2910372"/>
              <a:ext cx="120300" cy="32024"/>
            </a:xfrm>
            <a:custGeom>
              <a:avLst/>
              <a:gdLst>
                <a:gd name="connsiteX0" fmla="*/ 120301 w 120300"/>
                <a:gd name="connsiteY0" fmla="*/ 0 h 32024"/>
                <a:gd name="connsiteX1" fmla="*/ 0 w 120300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024">
                  <a:moveTo>
                    <a:pt x="120301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2" name="Freeform: Shape 1021">
              <a:extLst>
                <a:ext uri="{FF2B5EF4-FFF2-40B4-BE49-F238E27FC236}">
                  <a16:creationId xmlns:a16="http://schemas.microsoft.com/office/drawing/2014/main" id="{A65DA250-78E0-43F3-87BD-E47D2C3297EA}"/>
                </a:ext>
              </a:extLst>
            </p:cNvPr>
            <p:cNvSpPr/>
            <p:nvPr/>
          </p:nvSpPr>
          <p:spPr>
            <a:xfrm>
              <a:off x="5692007" y="4011737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3" name="Freeform: Shape 1022">
              <a:extLst>
                <a:ext uri="{FF2B5EF4-FFF2-40B4-BE49-F238E27FC236}">
                  <a16:creationId xmlns:a16="http://schemas.microsoft.com/office/drawing/2014/main" id="{347F3113-3DD1-40F5-9FBD-6FAF1678C5B2}"/>
                </a:ext>
              </a:extLst>
            </p:cNvPr>
            <p:cNvSpPr/>
            <p:nvPr/>
          </p:nvSpPr>
          <p:spPr>
            <a:xfrm>
              <a:off x="5461988" y="4001155"/>
              <a:ext cx="120300" cy="64049"/>
            </a:xfrm>
            <a:custGeom>
              <a:avLst/>
              <a:gdLst>
                <a:gd name="connsiteX0" fmla="*/ 120301 w 120300"/>
                <a:gd name="connsiteY0" fmla="*/ 0 h 64049"/>
                <a:gd name="connsiteX1" fmla="*/ 0 w 120300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4049">
                  <a:moveTo>
                    <a:pt x="120301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4" name="Freeform: Shape 1023">
              <a:extLst>
                <a:ext uri="{FF2B5EF4-FFF2-40B4-BE49-F238E27FC236}">
                  <a16:creationId xmlns:a16="http://schemas.microsoft.com/office/drawing/2014/main" id="{1C9404C2-C80B-4947-ADB8-345DDC673805}"/>
                </a:ext>
              </a:extLst>
            </p:cNvPr>
            <p:cNvSpPr/>
            <p:nvPr/>
          </p:nvSpPr>
          <p:spPr>
            <a:xfrm>
              <a:off x="4318017" y="3990295"/>
              <a:ext cx="120300" cy="77694"/>
            </a:xfrm>
            <a:custGeom>
              <a:avLst/>
              <a:gdLst>
                <a:gd name="connsiteX0" fmla="*/ 120301 w 120300"/>
                <a:gd name="connsiteY0" fmla="*/ 0 h 77694"/>
                <a:gd name="connsiteX1" fmla="*/ 0 w 120300"/>
                <a:gd name="connsiteY1" fmla="*/ 77694 h 77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694">
                  <a:moveTo>
                    <a:pt x="120301" y="0"/>
                  </a:moveTo>
                  <a:lnTo>
                    <a:pt x="0" y="776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5" name="Freeform: Shape 1024">
              <a:extLst>
                <a:ext uri="{FF2B5EF4-FFF2-40B4-BE49-F238E27FC236}">
                  <a16:creationId xmlns:a16="http://schemas.microsoft.com/office/drawing/2014/main" id="{FFE6081F-8084-4AA4-8876-AEBDCDEAA24F}"/>
                </a:ext>
              </a:extLst>
            </p:cNvPr>
            <p:cNvSpPr/>
            <p:nvPr/>
          </p:nvSpPr>
          <p:spPr>
            <a:xfrm>
              <a:off x="3184349" y="4460916"/>
              <a:ext cx="120300" cy="55973"/>
            </a:xfrm>
            <a:custGeom>
              <a:avLst/>
              <a:gdLst>
                <a:gd name="connsiteX0" fmla="*/ 120301 w 120300"/>
                <a:gd name="connsiteY0" fmla="*/ 0 h 55973"/>
                <a:gd name="connsiteX1" fmla="*/ 0 w 120300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5973">
                  <a:moveTo>
                    <a:pt x="120301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6" name="Freeform: Shape 1025">
              <a:extLst>
                <a:ext uri="{FF2B5EF4-FFF2-40B4-BE49-F238E27FC236}">
                  <a16:creationId xmlns:a16="http://schemas.microsoft.com/office/drawing/2014/main" id="{3013CF3D-2A33-455C-BE91-14A41E18197C}"/>
                </a:ext>
              </a:extLst>
            </p:cNvPr>
            <p:cNvSpPr/>
            <p:nvPr/>
          </p:nvSpPr>
          <p:spPr>
            <a:xfrm>
              <a:off x="3409078" y="5300236"/>
              <a:ext cx="93567" cy="120300"/>
            </a:xfrm>
            <a:custGeom>
              <a:avLst/>
              <a:gdLst>
                <a:gd name="connsiteX0" fmla="*/ 93567 w 93567"/>
                <a:gd name="connsiteY0" fmla="*/ 0 h 120300"/>
                <a:gd name="connsiteX1" fmla="*/ 0 w 93567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20300">
                  <a:moveTo>
                    <a:pt x="93567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7" name="Freeform: Shape 1026">
              <a:extLst>
                <a:ext uri="{FF2B5EF4-FFF2-40B4-BE49-F238E27FC236}">
                  <a16:creationId xmlns:a16="http://schemas.microsoft.com/office/drawing/2014/main" id="{0000139F-1A99-47C2-8FD4-7342EAA72D1D}"/>
                </a:ext>
              </a:extLst>
            </p:cNvPr>
            <p:cNvSpPr/>
            <p:nvPr/>
          </p:nvSpPr>
          <p:spPr>
            <a:xfrm>
              <a:off x="4547758" y="3985004"/>
              <a:ext cx="120300" cy="80200"/>
            </a:xfrm>
            <a:custGeom>
              <a:avLst/>
              <a:gdLst>
                <a:gd name="connsiteX0" fmla="*/ 120301 w 120300"/>
                <a:gd name="connsiteY0" fmla="*/ 0 h 80200"/>
                <a:gd name="connsiteX1" fmla="*/ 0 w 120300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0200">
                  <a:moveTo>
                    <a:pt x="120301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8" name="Freeform: Shape 1027">
              <a:extLst>
                <a:ext uri="{FF2B5EF4-FFF2-40B4-BE49-F238E27FC236}">
                  <a16:creationId xmlns:a16="http://schemas.microsoft.com/office/drawing/2014/main" id="{72DA578F-9CCD-47A3-8D63-4CBD823279EE}"/>
                </a:ext>
              </a:extLst>
            </p:cNvPr>
            <p:cNvSpPr/>
            <p:nvPr/>
          </p:nvSpPr>
          <p:spPr>
            <a:xfrm>
              <a:off x="3409078" y="4444764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9" name="Freeform: Shape 1028">
              <a:extLst>
                <a:ext uri="{FF2B5EF4-FFF2-40B4-BE49-F238E27FC236}">
                  <a16:creationId xmlns:a16="http://schemas.microsoft.com/office/drawing/2014/main" id="{490410E9-C8AD-434C-B152-40F917462C2B}"/>
                </a:ext>
              </a:extLst>
            </p:cNvPr>
            <p:cNvSpPr/>
            <p:nvPr/>
          </p:nvSpPr>
          <p:spPr>
            <a:xfrm>
              <a:off x="6146477" y="4877791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0" name="Freeform: Shape 1029">
              <a:extLst>
                <a:ext uri="{FF2B5EF4-FFF2-40B4-BE49-F238E27FC236}">
                  <a16:creationId xmlns:a16="http://schemas.microsoft.com/office/drawing/2014/main" id="{6E2A2E8C-D4A2-46B3-823E-155ACB5472B9}"/>
                </a:ext>
              </a:extLst>
            </p:cNvPr>
            <p:cNvSpPr/>
            <p:nvPr/>
          </p:nvSpPr>
          <p:spPr>
            <a:xfrm>
              <a:off x="4777777" y="2624380"/>
              <a:ext cx="117516" cy="96073"/>
            </a:xfrm>
            <a:custGeom>
              <a:avLst/>
              <a:gdLst>
                <a:gd name="connsiteX0" fmla="*/ 117516 w 117516"/>
                <a:gd name="connsiteY0" fmla="*/ 0 h 96073"/>
                <a:gd name="connsiteX1" fmla="*/ 0 w 117516"/>
                <a:gd name="connsiteY1" fmla="*/ 96074 h 96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96073">
                  <a:moveTo>
                    <a:pt x="117516" y="0"/>
                  </a:moveTo>
                  <a:lnTo>
                    <a:pt x="0" y="960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1" name="Freeform: Shape 1030">
              <a:extLst>
                <a:ext uri="{FF2B5EF4-FFF2-40B4-BE49-F238E27FC236}">
                  <a16:creationId xmlns:a16="http://schemas.microsoft.com/office/drawing/2014/main" id="{70D4E1F4-A8E8-4C53-8216-1379FE2252FC}"/>
                </a:ext>
              </a:extLst>
            </p:cNvPr>
            <p:cNvSpPr/>
            <p:nvPr/>
          </p:nvSpPr>
          <p:spPr>
            <a:xfrm>
              <a:off x="7055416" y="4434182"/>
              <a:ext cx="120300" cy="82706"/>
            </a:xfrm>
            <a:custGeom>
              <a:avLst/>
              <a:gdLst>
                <a:gd name="connsiteX0" fmla="*/ 120301 w 120300"/>
                <a:gd name="connsiteY0" fmla="*/ 0 h 82706"/>
                <a:gd name="connsiteX1" fmla="*/ 0 w 120300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706">
                  <a:moveTo>
                    <a:pt x="120301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2" name="Freeform: Shape 1031">
              <a:extLst>
                <a:ext uri="{FF2B5EF4-FFF2-40B4-BE49-F238E27FC236}">
                  <a16:creationId xmlns:a16="http://schemas.microsoft.com/office/drawing/2014/main" id="{CA545369-EDA1-47E2-A8A5-A438447F57AF}"/>
                </a:ext>
              </a:extLst>
            </p:cNvPr>
            <p:cNvSpPr/>
            <p:nvPr/>
          </p:nvSpPr>
          <p:spPr>
            <a:xfrm>
              <a:off x="4550542" y="838526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3" name="Freeform: Shape 1032">
              <a:extLst>
                <a:ext uri="{FF2B5EF4-FFF2-40B4-BE49-F238E27FC236}">
                  <a16:creationId xmlns:a16="http://schemas.microsoft.com/office/drawing/2014/main" id="{FE991F76-912D-4326-BD04-7CE228B0038A}"/>
                </a:ext>
              </a:extLst>
            </p:cNvPr>
            <p:cNvSpPr/>
            <p:nvPr/>
          </p:nvSpPr>
          <p:spPr>
            <a:xfrm>
              <a:off x="5461988" y="900069"/>
              <a:ext cx="120300" cy="15873"/>
            </a:xfrm>
            <a:custGeom>
              <a:avLst/>
              <a:gdLst>
                <a:gd name="connsiteX0" fmla="*/ 120301 w 120300"/>
                <a:gd name="connsiteY0" fmla="*/ 0 h 15873"/>
                <a:gd name="connsiteX1" fmla="*/ 0 w 120300"/>
                <a:gd name="connsiteY1" fmla="*/ 15873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15873">
                  <a:moveTo>
                    <a:pt x="120301" y="0"/>
                  </a:moveTo>
                  <a:lnTo>
                    <a:pt x="0" y="158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4" name="Freeform: Shape 1033">
              <a:extLst>
                <a:ext uri="{FF2B5EF4-FFF2-40B4-BE49-F238E27FC236}">
                  <a16:creationId xmlns:a16="http://schemas.microsoft.com/office/drawing/2014/main" id="{AB04E51C-60A7-4C90-AE4F-CB6579CE00C2}"/>
                </a:ext>
              </a:extLst>
            </p:cNvPr>
            <p:cNvSpPr/>
            <p:nvPr/>
          </p:nvSpPr>
          <p:spPr>
            <a:xfrm>
              <a:off x="6600946" y="3776426"/>
              <a:ext cx="120300" cy="64327"/>
            </a:xfrm>
            <a:custGeom>
              <a:avLst/>
              <a:gdLst>
                <a:gd name="connsiteX0" fmla="*/ 120301 w 120300"/>
                <a:gd name="connsiteY0" fmla="*/ 0 h 64327"/>
                <a:gd name="connsiteX1" fmla="*/ 0 w 120300"/>
                <a:gd name="connsiteY1" fmla="*/ 64327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4327">
                  <a:moveTo>
                    <a:pt x="120301" y="0"/>
                  </a:moveTo>
                  <a:lnTo>
                    <a:pt x="0" y="643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5" name="Freeform: Shape 1034">
              <a:extLst>
                <a:ext uri="{FF2B5EF4-FFF2-40B4-BE49-F238E27FC236}">
                  <a16:creationId xmlns:a16="http://schemas.microsoft.com/office/drawing/2014/main" id="{BBF51597-8F93-4761-B3F4-33738E08AD6C}"/>
                </a:ext>
              </a:extLst>
            </p:cNvPr>
            <p:cNvSpPr/>
            <p:nvPr/>
          </p:nvSpPr>
          <p:spPr>
            <a:xfrm>
              <a:off x="1355889" y="2482636"/>
              <a:ext cx="120300" cy="8075"/>
            </a:xfrm>
            <a:custGeom>
              <a:avLst/>
              <a:gdLst>
                <a:gd name="connsiteX0" fmla="*/ 120301 w 120300"/>
                <a:gd name="connsiteY0" fmla="*/ 0 h 8075"/>
                <a:gd name="connsiteX1" fmla="*/ 0 w 120300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075">
                  <a:moveTo>
                    <a:pt x="120301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6" name="Freeform: Shape 1035">
              <a:extLst>
                <a:ext uri="{FF2B5EF4-FFF2-40B4-BE49-F238E27FC236}">
                  <a16:creationId xmlns:a16="http://schemas.microsoft.com/office/drawing/2014/main" id="{F1D447B1-0DF7-437E-B546-9B13917A3FCC}"/>
                </a:ext>
              </a:extLst>
            </p:cNvPr>
            <p:cNvSpPr/>
            <p:nvPr/>
          </p:nvSpPr>
          <p:spPr>
            <a:xfrm>
              <a:off x="9113895" y="2439751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7" name="Freeform: Shape 1036">
              <a:extLst>
                <a:ext uri="{FF2B5EF4-FFF2-40B4-BE49-F238E27FC236}">
                  <a16:creationId xmlns:a16="http://schemas.microsoft.com/office/drawing/2014/main" id="{C24D10BB-77D8-4258-B589-798CFB5D3DA3}"/>
                </a:ext>
              </a:extLst>
            </p:cNvPr>
            <p:cNvSpPr/>
            <p:nvPr/>
          </p:nvSpPr>
          <p:spPr>
            <a:xfrm>
              <a:off x="5692007" y="2859412"/>
              <a:ext cx="117516" cy="82985"/>
            </a:xfrm>
            <a:custGeom>
              <a:avLst/>
              <a:gdLst>
                <a:gd name="connsiteX0" fmla="*/ 117516 w 117516"/>
                <a:gd name="connsiteY0" fmla="*/ 0 h 82985"/>
                <a:gd name="connsiteX1" fmla="*/ 0 w 117516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2985">
                  <a:moveTo>
                    <a:pt x="117516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8" name="Freeform: Shape 1037">
              <a:extLst>
                <a:ext uri="{FF2B5EF4-FFF2-40B4-BE49-F238E27FC236}">
                  <a16:creationId xmlns:a16="http://schemas.microsoft.com/office/drawing/2014/main" id="{C46E2328-69CD-43A7-B888-6AE24227E741}"/>
                </a:ext>
              </a:extLst>
            </p:cNvPr>
            <p:cNvSpPr/>
            <p:nvPr/>
          </p:nvSpPr>
          <p:spPr>
            <a:xfrm>
              <a:off x="1815650" y="2439751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9" name="Freeform: Shape 1038">
              <a:extLst>
                <a:ext uri="{FF2B5EF4-FFF2-40B4-BE49-F238E27FC236}">
                  <a16:creationId xmlns:a16="http://schemas.microsoft.com/office/drawing/2014/main" id="{E6063793-0897-42D5-AC44-B1271162D551}"/>
                </a:ext>
              </a:extLst>
            </p:cNvPr>
            <p:cNvSpPr/>
            <p:nvPr/>
          </p:nvSpPr>
          <p:spPr>
            <a:xfrm>
              <a:off x="9338345" y="4215023"/>
              <a:ext cx="120300" cy="74631"/>
            </a:xfrm>
            <a:custGeom>
              <a:avLst/>
              <a:gdLst>
                <a:gd name="connsiteX0" fmla="*/ 120301 w 120300"/>
                <a:gd name="connsiteY0" fmla="*/ 0 h 74631"/>
                <a:gd name="connsiteX1" fmla="*/ 0 w 120300"/>
                <a:gd name="connsiteY1" fmla="*/ 74631 h 74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4631">
                  <a:moveTo>
                    <a:pt x="120301" y="0"/>
                  </a:moveTo>
                  <a:lnTo>
                    <a:pt x="0" y="746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0" name="Freeform: Shape 1039">
              <a:extLst>
                <a:ext uri="{FF2B5EF4-FFF2-40B4-BE49-F238E27FC236}">
                  <a16:creationId xmlns:a16="http://schemas.microsoft.com/office/drawing/2014/main" id="{4F2F0DDE-346D-49CD-8208-C09919C79600}"/>
                </a:ext>
              </a:extLst>
            </p:cNvPr>
            <p:cNvSpPr/>
            <p:nvPr/>
          </p:nvSpPr>
          <p:spPr>
            <a:xfrm>
              <a:off x="2500139" y="5385728"/>
              <a:ext cx="120300" cy="32302"/>
            </a:xfrm>
            <a:custGeom>
              <a:avLst/>
              <a:gdLst>
                <a:gd name="connsiteX0" fmla="*/ 120301 w 120300"/>
                <a:gd name="connsiteY0" fmla="*/ 0 h 32302"/>
                <a:gd name="connsiteX1" fmla="*/ 0 w 120300"/>
                <a:gd name="connsiteY1" fmla="*/ 32303 h 3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302">
                  <a:moveTo>
                    <a:pt x="120301" y="0"/>
                  </a:moveTo>
                  <a:lnTo>
                    <a:pt x="0" y="323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1" name="Freeform: Shape 1040">
              <a:extLst>
                <a:ext uri="{FF2B5EF4-FFF2-40B4-BE49-F238E27FC236}">
                  <a16:creationId xmlns:a16="http://schemas.microsoft.com/office/drawing/2014/main" id="{CEF4E905-7B85-460A-8944-2401DFBEBEDF}"/>
                </a:ext>
              </a:extLst>
            </p:cNvPr>
            <p:cNvSpPr/>
            <p:nvPr/>
          </p:nvSpPr>
          <p:spPr>
            <a:xfrm>
              <a:off x="8432191" y="1811514"/>
              <a:ext cx="120300" cy="8075"/>
            </a:xfrm>
            <a:custGeom>
              <a:avLst/>
              <a:gdLst>
                <a:gd name="connsiteX0" fmla="*/ 120301 w 120300"/>
                <a:gd name="connsiteY0" fmla="*/ 0 h 8075"/>
                <a:gd name="connsiteX1" fmla="*/ 0 w 120300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075">
                  <a:moveTo>
                    <a:pt x="120301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2" name="Freeform: Shape 1041">
              <a:extLst>
                <a:ext uri="{FF2B5EF4-FFF2-40B4-BE49-F238E27FC236}">
                  <a16:creationId xmlns:a16="http://schemas.microsoft.com/office/drawing/2014/main" id="{9525CF0E-5E8F-4E3F-B5BB-3D511AC12AE3}"/>
                </a:ext>
              </a:extLst>
            </p:cNvPr>
            <p:cNvSpPr/>
            <p:nvPr/>
          </p:nvSpPr>
          <p:spPr>
            <a:xfrm>
              <a:off x="7747702" y="1811514"/>
              <a:ext cx="120300" cy="8075"/>
            </a:xfrm>
            <a:custGeom>
              <a:avLst/>
              <a:gdLst>
                <a:gd name="connsiteX0" fmla="*/ 120300 w 120300"/>
                <a:gd name="connsiteY0" fmla="*/ 0 h 8075"/>
                <a:gd name="connsiteX1" fmla="*/ 0 w 120300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075">
                  <a:moveTo>
                    <a:pt x="120300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3" name="Freeform: Shape 1042">
              <a:extLst>
                <a:ext uri="{FF2B5EF4-FFF2-40B4-BE49-F238E27FC236}">
                  <a16:creationId xmlns:a16="http://schemas.microsoft.com/office/drawing/2014/main" id="{FA6AABBF-15BB-4253-BA76-F3FF91E39917}"/>
                </a:ext>
              </a:extLst>
            </p:cNvPr>
            <p:cNvSpPr/>
            <p:nvPr/>
          </p:nvSpPr>
          <p:spPr>
            <a:xfrm>
              <a:off x="5234753" y="2624380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4" name="Freeform: Shape 1043">
              <a:extLst>
                <a:ext uri="{FF2B5EF4-FFF2-40B4-BE49-F238E27FC236}">
                  <a16:creationId xmlns:a16="http://schemas.microsoft.com/office/drawing/2014/main" id="{186EA893-B544-423F-A18E-3CFBB6328F27}"/>
                </a:ext>
              </a:extLst>
            </p:cNvPr>
            <p:cNvSpPr/>
            <p:nvPr/>
          </p:nvSpPr>
          <p:spPr>
            <a:xfrm>
              <a:off x="7063491" y="1806223"/>
              <a:ext cx="120300" cy="13366"/>
            </a:xfrm>
            <a:custGeom>
              <a:avLst/>
              <a:gdLst>
                <a:gd name="connsiteX0" fmla="*/ 120301 w 120300"/>
                <a:gd name="connsiteY0" fmla="*/ 0 h 13366"/>
                <a:gd name="connsiteX1" fmla="*/ 0 w 120300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13366">
                  <a:moveTo>
                    <a:pt x="120301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5" name="Freeform: Shape 1044">
              <a:extLst>
                <a:ext uri="{FF2B5EF4-FFF2-40B4-BE49-F238E27FC236}">
                  <a16:creationId xmlns:a16="http://schemas.microsoft.com/office/drawing/2014/main" id="{5F91C26E-7074-48A2-9D21-2963E0992796}"/>
                </a:ext>
              </a:extLst>
            </p:cNvPr>
            <p:cNvSpPr/>
            <p:nvPr/>
          </p:nvSpPr>
          <p:spPr>
            <a:xfrm>
              <a:off x="8429406" y="5391297"/>
              <a:ext cx="120300" cy="26733"/>
            </a:xfrm>
            <a:custGeom>
              <a:avLst/>
              <a:gdLst>
                <a:gd name="connsiteX0" fmla="*/ 120301 w 120300"/>
                <a:gd name="connsiteY0" fmla="*/ 0 h 26733"/>
                <a:gd name="connsiteX1" fmla="*/ 0 w 120300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6733">
                  <a:moveTo>
                    <a:pt x="120301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6" name="Freeform: Shape 1045">
              <a:extLst>
                <a:ext uri="{FF2B5EF4-FFF2-40B4-BE49-F238E27FC236}">
                  <a16:creationId xmlns:a16="http://schemas.microsoft.com/office/drawing/2014/main" id="{9C3BF21A-B805-4D0A-BB73-6893E310D878}"/>
                </a:ext>
              </a:extLst>
            </p:cNvPr>
            <p:cNvSpPr/>
            <p:nvPr/>
          </p:nvSpPr>
          <p:spPr>
            <a:xfrm>
              <a:off x="4093288" y="2145683"/>
              <a:ext cx="93567" cy="120300"/>
            </a:xfrm>
            <a:custGeom>
              <a:avLst/>
              <a:gdLst>
                <a:gd name="connsiteX0" fmla="*/ 93567 w 93567"/>
                <a:gd name="connsiteY0" fmla="*/ 0 h 120300"/>
                <a:gd name="connsiteX1" fmla="*/ 0 w 93567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20300">
                  <a:moveTo>
                    <a:pt x="93567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7" name="Freeform: Shape 1046">
              <a:extLst>
                <a:ext uri="{FF2B5EF4-FFF2-40B4-BE49-F238E27FC236}">
                  <a16:creationId xmlns:a16="http://schemas.microsoft.com/office/drawing/2014/main" id="{7D9771C3-851C-46C0-9DEE-9C0A3048DEF8}"/>
                </a:ext>
              </a:extLst>
            </p:cNvPr>
            <p:cNvSpPr/>
            <p:nvPr/>
          </p:nvSpPr>
          <p:spPr>
            <a:xfrm>
              <a:off x="5461988" y="2402436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8" name="Freeform: Shape 1047">
              <a:extLst>
                <a:ext uri="{FF2B5EF4-FFF2-40B4-BE49-F238E27FC236}">
                  <a16:creationId xmlns:a16="http://schemas.microsoft.com/office/drawing/2014/main" id="{9C9F36EE-56AC-4931-AA56-28F46406B9E1}"/>
                </a:ext>
              </a:extLst>
            </p:cNvPr>
            <p:cNvSpPr/>
            <p:nvPr/>
          </p:nvSpPr>
          <p:spPr>
            <a:xfrm>
              <a:off x="4323308" y="2859412"/>
              <a:ext cx="117516" cy="82985"/>
            </a:xfrm>
            <a:custGeom>
              <a:avLst/>
              <a:gdLst>
                <a:gd name="connsiteX0" fmla="*/ 117516 w 117516"/>
                <a:gd name="connsiteY0" fmla="*/ 0 h 82985"/>
                <a:gd name="connsiteX1" fmla="*/ 0 w 117516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2985">
                  <a:moveTo>
                    <a:pt x="117516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9" name="Freeform: Shape 1048">
              <a:extLst>
                <a:ext uri="{FF2B5EF4-FFF2-40B4-BE49-F238E27FC236}">
                  <a16:creationId xmlns:a16="http://schemas.microsoft.com/office/drawing/2014/main" id="{D6ECC9D8-2CCB-4637-AF7C-10BD7CDED275}"/>
                </a:ext>
              </a:extLst>
            </p:cNvPr>
            <p:cNvSpPr/>
            <p:nvPr/>
          </p:nvSpPr>
          <p:spPr>
            <a:xfrm>
              <a:off x="9568365" y="4247048"/>
              <a:ext cx="120300" cy="42606"/>
            </a:xfrm>
            <a:custGeom>
              <a:avLst/>
              <a:gdLst>
                <a:gd name="connsiteX0" fmla="*/ 120301 w 120300"/>
                <a:gd name="connsiteY0" fmla="*/ 0 h 42606"/>
                <a:gd name="connsiteX1" fmla="*/ 0 w 120300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2606">
                  <a:moveTo>
                    <a:pt x="120301" y="0"/>
                  </a:moveTo>
                  <a:lnTo>
                    <a:pt x="0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0" name="Freeform: Shape 1049">
              <a:extLst>
                <a:ext uri="{FF2B5EF4-FFF2-40B4-BE49-F238E27FC236}">
                  <a16:creationId xmlns:a16="http://schemas.microsoft.com/office/drawing/2014/main" id="{2171AD46-6050-4504-9357-8CFA6EE09AE7}"/>
                </a:ext>
              </a:extLst>
            </p:cNvPr>
            <p:cNvSpPr/>
            <p:nvPr/>
          </p:nvSpPr>
          <p:spPr>
            <a:xfrm>
              <a:off x="4547758" y="2153759"/>
              <a:ext cx="106934" cy="117516"/>
            </a:xfrm>
            <a:custGeom>
              <a:avLst/>
              <a:gdLst>
                <a:gd name="connsiteX0" fmla="*/ 106934 w 106934"/>
                <a:gd name="connsiteY0" fmla="*/ 0 h 117516"/>
                <a:gd name="connsiteX1" fmla="*/ 0 w 106934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17516">
                  <a:moveTo>
                    <a:pt x="106934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1" name="Freeform: Shape 1050">
              <a:extLst>
                <a:ext uri="{FF2B5EF4-FFF2-40B4-BE49-F238E27FC236}">
                  <a16:creationId xmlns:a16="http://schemas.microsoft.com/office/drawing/2014/main" id="{1FE0611E-6B96-4036-9A84-021726BFB021}"/>
                </a:ext>
              </a:extLst>
            </p:cNvPr>
            <p:cNvSpPr/>
            <p:nvPr/>
          </p:nvSpPr>
          <p:spPr>
            <a:xfrm>
              <a:off x="5919242" y="2634962"/>
              <a:ext cx="120300" cy="82985"/>
            </a:xfrm>
            <a:custGeom>
              <a:avLst/>
              <a:gdLst>
                <a:gd name="connsiteX0" fmla="*/ 120301 w 120300"/>
                <a:gd name="connsiteY0" fmla="*/ 0 h 82985"/>
                <a:gd name="connsiteX1" fmla="*/ 0 w 120300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985">
                  <a:moveTo>
                    <a:pt x="12030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2" name="Freeform: Shape 1051">
              <a:extLst>
                <a:ext uri="{FF2B5EF4-FFF2-40B4-BE49-F238E27FC236}">
                  <a16:creationId xmlns:a16="http://schemas.microsoft.com/office/drawing/2014/main" id="{9CA526B3-1005-4E77-B10E-EAD5D73C407C}"/>
                </a:ext>
              </a:extLst>
            </p:cNvPr>
            <p:cNvSpPr/>
            <p:nvPr/>
          </p:nvSpPr>
          <p:spPr>
            <a:xfrm>
              <a:off x="6373711" y="2859412"/>
              <a:ext cx="120300" cy="82985"/>
            </a:xfrm>
            <a:custGeom>
              <a:avLst/>
              <a:gdLst>
                <a:gd name="connsiteX0" fmla="*/ 120301 w 120300"/>
                <a:gd name="connsiteY0" fmla="*/ 0 h 82985"/>
                <a:gd name="connsiteX1" fmla="*/ 0 w 120300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985">
                  <a:moveTo>
                    <a:pt x="12030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3" name="Freeform: Shape 1052">
              <a:extLst>
                <a:ext uri="{FF2B5EF4-FFF2-40B4-BE49-F238E27FC236}">
                  <a16:creationId xmlns:a16="http://schemas.microsoft.com/office/drawing/2014/main" id="{162EC8A1-AB4E-4847-AD67-7F0469556F51}"/>
                </a:ext>
              </a:extLst>
            </p:cNvPr>
            <p:cNvSpPr/>
            <p:nvPr/>
          </p:nvSpPr>
          <p:spPr>
            <a:xfrm>
              <a:off x="9341130" y="3084140"/>
              <a:ext cx="120300" cy="82706"/>
            </a:xfrm>
            <a:custGeom>
              <a:avLst/>
              <a:gdLst>
                <a:gd name="connsiteX0" fmla="*/ 120301 w 120300"/>
                <a:gd name="connsiteY0" fmla="*/ 0 h 82706"/>
                <a:gd name="connsiteX1" fmla="*/ 0 w 120300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706">
                  <a:moveTo>
                    <a:pt x="120301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4" name="Freeform: Shape 1053">
              <a:extLst>
                <a:ext uri="{FF2B5EF4-FFF2-40B4-BE49-F238E27FC236}">
                  <a16:creationId xmlns:a16="http://schemas.microsoft.com/office/drawing/2014/main" id="{17837A31-8718-44CD-A032-7CD4DACEE47C}"/>
                </a:ext>
              </a:extLst>
            </p:cNvPr>
            <p:cNvSpPr/>
            <p:nvPr/>
          </p:nvSpPr>
          <p:spPr>
            <a:xfrm>
              <a:off x="4780283" y="3102798"/>
              <a:ext cx="120300" cy="64049"/>
            </a:xfrm>
            <a:custGeom>
              <a:avLst/>
              <a:gdLst>
                <a:gd name="connsiteX0" fmla="*/ 120301 w 120300"/>
                <a:gd name="connsiteY0" fmla="*/ 0 h 64049"/>
                <a:gd name="connsiteX1" fmla="*/ 0 w 120300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4049">
                  <a:moveTo>
                    <a:pt x="120301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5" name="Freeform: Shape 1054">
              <a:extLst>
                <a:ext uri="{FF2B5EF4-FFF2-40B4-BE49-F238E27FC236}">
                  <a16:creationId xmlns:a16="http://schemas.microsoft.com/office/drawing/2014/main" id="{1B455E0F-945A-43BE-BC84-B8A5D589E75E}"/>
                </a:ext>
              </a:extLst>
            </p:cNvPr>
            <p:cNvSpPr/>
            <p:nvPr/>
          </p:nvSpPr>
          <p:spPr>
            <a:xfrm>
              <a:off x="7063491" y="4925967"/>
              <a:ext cx="120300" cy="42884"/>
            </a:xfrm>
            <a:custGeom>
              <a:avLst/>
              <a:gdLst>
                <a:gd name="connsiteX0" fmla="*/ 120301 w 120300"/>
                <a:gd name="connsiteY0" fmla="*/ 0 h 42884"/>
                <a:gd name="connsiteX1" fmla="*/ 0 w 120300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2884">
                  <a:moveTo>
                    <a:pt x="120301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6" name="Freeform: Shape 1055">
              <a:extLst>
                <a:ext uri="{FF2B5EF4-FFF2-40B4-BE49-F238E27FC236}">
                  <a16:creationId xmlns:a16="http://schemas.microsoft.com/office/drawing/2014/main" id="{E6F7D47E-5A08-47E4-AFC3-ABBB23EC4F9E}"/>
                </a:ext>
              </a:extLst>
            </p:cNvPr>
            <p:cNvSpPr/>
            <p:nvPr/>
          </p:nvSpPr>
          <p:spPr>
            <a:xfrm>
              <a:off x="2954608" y="4268490"/>
              <a:ext cx="120300" cy="23948"/>
            </a:xfrm>
            <a:custGeom>
              <a:avLst/>
              <a:gdLst>
                <a:gd name="connsiteX0" fmla="*/ 120301 w 120300"/>
                <a:gd name="connsiteY0" fmla="*/ 0 h 23948"/>
                <a:gd name="connsiteX1" fmla="*/ 0 w 120300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3948">
                  <a:moveTo>
                    <a:pt x="120301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7" name="Freeform: Shape 1056">
              <a:extLst>
                <a:ext uri="{FF2B5EF4-FFF2-40B4-BE49-F238E27FC236}">
                  <a16:creationId xmlns:a16="http://schemas.microsoft.com/office/drawing/2014/main" id="{546A8929-E2B4-4086-829C-C9E1C899595F}"/>
                </a:ext>
              </a:extLst>
            </p:cNvPr>
            <p:cNvSpPr/>
            <p:nvPr/>
          </p:nvSpPr>
          <p:spPr>
            <a:xfrm>
              <a:off x="3868838" y="3594583"/>
              <a:ext cx="120300" cy="21442"/>
            </a:xfrm>
            <a:custGeom>
              <a:avLst/>
              <a:gdLst>
                <a:gd name="connsiteX0" fmla="*/ 120301 w 120300"/>
                <a:gd name="connsiteY0" fmla="*/ 0 h 21442"/>
                <a:gd name="connsiteX1" fmla="*/ 0 w 120300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1442">
                  <a:moveTo>
                    <a:pt x="120301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8" name="Freeform: Shape 1057">
              <a:extLst>
                <a:ext uri="{FF2B5EF4-FFF2-40B4-BE49-F238E27FC236}">
                  <a16:creationId xmlns:a16="http://schemas.microsoft.com/office/drawing/2014/main" id="{03D5B625-D9E9-48C0-B7B5-3FE7D8AAF9B5}"/>
                </a:ext>
              </a:extLst>
            </p:cNvPr>
            <p:cNvSpPr/>
            <p:nvPr/>
          </p:nvSpPr>
          <p:spPr>
            <a:xfrm>
              <a:off x="1125870" y="1739389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9" name="Freeform: Shape 1058">
              <a:extLst>
                <a:ext uri="{FF2B5EF4-FFF2-40B4-BE49-F238E27FC236}">
                  <a16:creationId xmlns:a16="http://schemas.microsoft.com/office/drawing/2014/main" id="{DF7A6B17-D2F9-4549-B2A0-470D508955E3}"/>
                </a:ext>
              </a:extLst>
            </p:cNvPr>
            <p:cNvSpPr/>
            <p:nvPr/>
          </p:nvSpPr>
          <p:spPr>
            <a:xfrm>
              <a:off x="2727373" y="2640253"/>
              <a:ext cx="120300" cy="77694"/>
            </a:xfrm>
            <a:custGeom>
              <a:avLst/>
              <a:gdLst>
                <a:gd name="connsiteX0" fmla="*/ 120301 w 120300"/>
                <a:gd name="connsiteY0" fmla="*/ 0 h 77694"/>
                <a:gd name="connsiteX1" fmla="*/ 0 w 120300"/>
                <a:gd name="connsiteY1" fmla="*/ 77694 h 77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694">
                  <a:moveTo>
                    <a:pt x="120301" y="0"/>
                  </a:moveTo>
                  <a:lnTo>
                    <a:pt x="0" y="776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0" name="Freeform: Shape 1059">
              <a:extLst>
                <a:ext uri="{FF2B5EF4-FFF2-40B4-BE49-F238E27FC236}">
                  <a16:creationId xmlns:a16="http://schemas.microsoft.com/office/drawing/2014/main" id="{ED84F3D3-61EF-4F91-90AD-AEAAA6D178F7}"/>
                </a:ext>
              </a:extLst>
            </p:cNvPr>
            <p:cNvSpPr/>
            <p:nvPr/>
          </p:nvSpPr>
          <p:spPr>
            <a:xfrm>
              <a:off x="5461988" y="2177707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1" name="Freeform: Shape 1060">
              <a:extLst>
                <a:ext uri="{FF2B5EF4-FFF2-40B4-BE49-F238E27FC236}">
                  <a16:creationId xmlns:a16="http://schemas.microsoft.com/office/drawing/2014/main" id="{983001F0-DDC6-483F-A254-6B4CAED2C726}"/>
                </a:ext>
              </a:extLst>
            </p:cNvPr>
            <p:cNvSpPr/>
            <p:nvPr/>
          </p:nvSpPr>
          <p:spPr>
            <a:xfrm>
              <a:off x="6149261" y="3089431"/>
              <a:ext cx="120300" cy="77415"/>
            </a:xfrm>
            <a:custGeom>
              <a:avLst/>
              <a:gdLst>
                <a:gd name="connsiteX0" fmla="*/ 120300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0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2" name="Freeform: Shape 1061">
              <a:extLst>
                <a:ext uri="{FF2B5EF4-FFF2-40B4-BE49-F238E27FC236}">
                  <a16:creationId xmlns:a16="http://schemas.microsoft.com/office/drawing/2014/main" id="{59EB9DE0-F0E6-4210-A7A0-DF97B6D8B310}"/>
                </a:ext>
              </a:extLst>
            </p:cNvPr>
            <p:cNvSpPr/>
            <p:nvPr/>
          </p:nvSpPr>
          <p:spPr>
            <a:xfrm>
              <a:off x="6373711" y="5554204"/>
              <a:ext cx="120300" cy="88276"/>
            </a:xfrm>
            <a:custGeom>
              <a:avLst/>
              <a:gdLst>
                <a:gd name="connsiteX0" fmla="*/ 120301 w 120300"/>
                <a:gd name="connsiteY0" fmla="*/ 0 h 88276"/>
                <a:gd name="connsiteX1" fmla="*/ 0 w 120300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8276">
                  <a:moveTo>
                    <a:pt x="120301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3" name="Freeform: Shape 1062">
              <a:extLst>
                <a:ext uri="{FF2B5EF4-FFF2-40B4-BE49-F238E27FC236}">
                  <a16:creationId xmlns:a16="http://schemas.microsoft.com/office/drawing/2014/main" id="{5AFA4ADB-E575-4471-B25E-47C79DD3BBEE}"/>
                </a:ext>
              </a:extLst>
            </p:cNvPr>
            <p:cNvSpPr/>
            <p:nvPr/>
          </p:nvSpPr>
          <p:spPr>
            <a:xfrm>
              <a:off x="2500139" y="4947410"/>
              <a:ext cx="120300" cy="21442"/>
            </a:xfrm>
            <a:custGeom>
              <a:avLst/>
              <a:gdLst>
                <a:gd name="connsiteX0" fmla="*/ 120301 w 120300"/>
                <a:gd name="connsiteY0" fmla="*/ 0 h 21442"/>
                <a:gd name="connsiteX1" fmla="*/ 0 w 12030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1442">
                  <a:moveTo>
                    <a:pt x="120301" y="0"/>
                  </a:moveTo>
                  <a:lnTo>
                    <a:pt x="0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4" name="Freeform: Shape 1063">
              <a:extLst>
                <a:ext uri="{FF2B5EF4-FFF2-40B4-BE49-F238E27FC236}">
                  <a16:creationId xmlns:a16="http://schemas.microsoft.com/office/drawing/2014/main" id="{32626DFA-D2D4-462B-B179-BB545E25A77E}"/>
                </a:ext>
              </a:extLst>
            </p:cNvPr>
            <p:cNvSpPr/>
            <p:nvPr/>
          </p:nvSpPr>
          <p:spPr>
            <a:xfrm>
              <a:off x="3409078" y="5524965"/>
              <a:ext cx="87997" cy="120300"/>
            </a:xfrm>
            <a:custGeom>
              <a:avLst/>
              <a:gdLst>
                <a:gd name="connsiteX0" fmla="*/ 87998 w 87997"/>
                <a:gd name="connsiteY0" fmla="*/ 0 h 120300"/>
                <a:gd name="connsiteX1" fmla="*/ 0 w 87997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997" h="120300">
                  <a:moveTo>
                    <a:pt x="8799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5" name="Freeform: Shape 1064">
              <a:extLst>
                <a:ext uri="{FF2B5EF4-FFF2-40B4-BE49-F238E27FC236}">
                  <a16:creationId xmlns:a16="http://schemas.microsoft.com/office/drawing/2014/main" id="{192C9265-E88F-4B2C-B391-D6195E4585AD}"/>
                </a:ext>
              </a:extLst>
            </p:cNvPr>
            <p:cNvSpPr/>
            <p:nvPr/>
          </p:nvSpPr>
          <p:spPr>
            <a:xfrm>
              <a:off x="3863547" y="2378209"/>
              <a:ext cx="106933" cy="117794"/>
            </a:xfrm>
            <a:custGeom>
              <a:avLst/>
              <a:gdLst>
                <a:gd name="connsiteX0" fmla="*/ 106934 w 106933"/>
                <a:gd name="connsiteY0" fmla="*/ 0 h 117794"/>
                <a:gd name="connsiteX1" fmla="*/ 0 w 106933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17794">
                  <a:moveTo>
                    <a:pt x="106934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6" name="Freeform: Shape 1065">
              <a:extLst>
                <a:ext uri="{FF2B5EF4-FFF2-40B4-BE49-F238E27FC236}">
                  <a16:creationId xmlns:a16="http://schemas.microsoft.com/office/drawing/2014/main" id="{2D593FBF-5FD4-4CD1-BC16-9B3CFFD0843A}"/>
                </a:ext>
              </a:extLst>
            </p:cNvPr>
            <p:cNvSpPr/>
            <p:nvPr/>
          </p:nvSpPr>
          <p:spPr>
            <a:xfrm>
              <a:off x="5232247" y="4402158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7" name="Freeform: Shape 1066">
              <a:extLst>
                <a:ext uri="{FF2B5EF4-FFF2-40B4-BE49-F238E27FC236}">
                  <a16:creationId xmlns:a16="http://schemas.microsoft.com/office/drawing/2014/main" id="{DA8ED355-DA70-4291-A672-16EA892678BA}"/>
                </a:ext>
              </a:extLst>
            </p:cNvPr>
            <p:cNvSpPr/>
            <p:nvPr/>
          </p:nvSpPr>
          <p:spPr>
            <a:xfrm>
              <a:off x="3179058" y="2378209"/>
              <a:ext cx="106934" cy="117794"/>
            </a:xfrm>
            <a:custGeom>
              <a:avLst/>
              <a:gdLst>
                <a:gd name="connsiteX0" fmla="*/ 106934 w 106934"/>
                <a:gd name="connsiteY0" fmla="*/ 0 h 117794"/>
                <a:gd name="connsiteX1" fmla="*/ 0 w 106934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17794">
                  <a:moveTo>
                    <a:pt x="106934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8" name="Freeform: Shape 1067">
              <a:extLst>
                <a:ext uri="{FF2B5EF4-FFF2-40B4-BE49-F238E27FC236}">
                  <a16:creationId xmlns:a16="http://schemas.microsoft.com/office/drawing/2014/main" id="{F1FFDC28-A726-4538-BDF5-C1A0ED598EB5}"/>
                </a:ext>
              </a:extLst>
            </p:cNvPr>
            <p:cNvSpPr/>
            <p:nvPr/>
          </p:nvSpPr>
          <p:spPr>
            <a:xfrm>
              <a:off x="7509885" y="4402158"/>
              <a:ext cx="93567" cy="114731"/>
            </a:xfrm>
            <a:custGeom>
              <a:avLst/>
              <a:gdLst>
                <a:gd name="connsiteX0" fmla="*/ 93567 w 93567"/>
                <a:gd name="connsiteY0" fmla="*/ 0 h 114731"/>
                <a:gd name="connsiteX1" fmla="*/ 0 w 93567"/>
                <a:gd name="connsiteY1" fmla="*/ 114731 h 11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14731">
                  <a:moveTo>
                    <a:pt x="93567" y="0"/>
                  </a:moveTo>
                  <a:lnTo>
                    <a:pt x="0" y="1147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9" name="Freeform: Shape 1068">
              <a:extLst>
                <a:ext uri="{FF2B5EF4-FFF2-40B4-BE49-F238E27FC236}">
                  <a16:creationId xmlns:a16="http://schemas.microsoft.com/office/drawing/2014/main" id="{0ACB2626-1213-418F-B36B-C9D00982C3C6}"/>
                </a:ext>
              </a:extLst>
            </p:cNvPr>
            <p:cNvSpPr/>
            <p:nvPr/>
          </p:nvSpPr>
          <p:spPr>
            <a:xfrm>
              <a:off x="8429406" y="2199150"/>
              <a:ext cx="120300" cy="66833"/>
            </a:xfrm>
            <a:custGeom>
              <a:avLst/>
              <a:gdLst>
                <a:gd name="connsiteX0" fmla="*/ 120301 w 120300"/>
                <a:gd name="connsiteY0" fmla="*/ 0 h 66833"/>
                <a:gd name="connsiteX1" fmla="*/ 0 w 120300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6833">
                  <a:moveTo>
                    <a:pt x="120301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0" name="Freeform: Shape 1069">
              <a:extLst>
                <a:ext uri="{FF2B5EF4-FFF2-40B4-BE49-F238E27FC236}">
                  <a16:creationId xmlns:a16="http://schemas.microsoft.com/office/drawing/2014/main" id="{12DCAF99-1C23-4ADC-AD5B-7FD101DC7852}"/>
                </a:ext>
              </a:extLst>
            </p:cNvPr>
            <p:cNvSpPr/>
            <p:nvPr/>
          </p:nvSpPr>
          <p:spPr>
            <a:xfrm>
              <a:off x="6376496" y="4685366"/>
              <a:ext cx="120300" cy="58758"/>
            </a:xfrm>
            <a:custGeom>
              <a:avLst/>
              <a:gdLst>
                <a:gd name="connsiteX0" fmla="*/ 120301 w 120300"/>
                <a:gd name="connsiteY0" fmla="*/ 0 h 58758"/>
                <a:gd name="connsiteX1" fmla="*/ 0 w 120300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8758">
                  <a:moveTo>
                    <a:pt x="120301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1" name="Freeform: Shape 1070">
              <a:extLst>
                <a:ext uri="{FF2B5EF4-FFF2-40B4-BE49-F238E27FC236}">
                  <a16:creationId xmlns:a16="http://schemas.microsoft.com/office/drawing/2014/main" id="{0C0AEA8D-394D-4F8F-B1FA-8FBAD0DD6E86}"/>
                </a:ext>
              </a:extLst>
            </p:cNvPr>
            <p:cNvSpPr/>
            <p:nvPr/>
          </p:nvSpPr>
          <p:spPr>
            <a:xfrm>
              <a:off x="3641603" y="3118949"/>
              <a:ext cx="120300" cy="47897"/>
            </a:xfrm>
            <a:custGeom>
              <a:avLst/>
              <a:gdLst>
                <a:gd name="connsiteX0" fmla="*/ 120301 w 120300"/>
                <a:gd name="connsiteY0" fmla="*/ 0 h 47897"/>
                <a:gd name="connsiteX1" fmla="*/ 0 w 120300"/>
                <a:gd name="connsiteY1" fmla="*/ 47898 h 47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7897">
                  <a:moveTo>
                    <a:pt x="120301" y="0"/>
                  </a:moveTo>
                  <a:lnTo>
                    <a:pt x="0" y="478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2" name="Freeform: Shape 1071">
              <a:extLst>
                <a:ext uri="{FF2B5EF4-FFF2-40B4-BE49-F238E27FC236}">
                  <a16:creationId xmlns:a16="http://schemas.microsoft.com/office/drawing/2014/main" id="{A4E50693-6C22-40DE-BEAF-26EC9CC4A0B5}"/>
                </a:ext>
              </a:extLst>
            </p:cNvPr>
            <p:cNvSpPr/>
            <p:nvPr/>
          </p:nvSpPr>
          <p:spPr>
            <a:xfrm>
              <a:off x="9113895" y="5171860"/>
              <a:ext cx="120300" cy="21442"/>
            </a:xfrm>
            <a:custGeom>
              <a:avLst/>
              <a:gdLst>
                <a:gd name="connsiteX0" fmla="*/ 120301 w 120300"/>
                <a:gd name="connsiteY0" fmla="*/ 0 h 21442"/>
                <a:gd name="connsiteX1" fmla="*/ 0 w 12030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1442">
                  <a:moveTo>
                    <a:pt x="120301" y="0"/>
                  </a:moveTo>
                  <a:lnTo>
                    <a:pt x="0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3" name="Freeform: Shape 1072">
              <a:extLst>
                <a:ext uri="{FF2B5EF4-FFF2-40B4-BE49-F238E27FC236}">
                  <a16:creationId xmlns:a16="http://schemas.microsoft.com/office/drawing/2014/main" id="{ABD5DCF9-30FB-4F3B-A7E9-A296AF2F5438}"/>
                </a:ext>
              </a:extLst>
            </p:cNvPr>
            <p:cNvSpPr/>
            <p:nvPr/>
          </p:nvSpPr>
          <p:spPr>
            <a:xfrm>
              <a:off x="7060707" y="4680075"/>
              <a:ext cx="120300" cy="61542"/>
            </a:xfrm>
            <a:custGeom>
              <a:avLst/>
              <a:gdLst>
                <a:gd name="connsiteX0" fmla="*/ 120301 w 120300"/>
                <a:gd name="connsiteY0" fmla="*/ 0 h 61542"/>
                <a:gd name="connsiteX1" fmla="*/ 0 w 120300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1542">
                  <a:moveTo>
                    <a:pt x="120301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4" name="Freeform: Shape 1073">
              <a:extLst>
                <a:ext uri="{FF2B5EF4-FFF2-40B4-BE49-F238E27FC236}">
                  <a16:creationId xmlns:a16="http://schemas.microsoft.com/office/drawing/2014/main" id="{E9420CC6-36F7-4CAD-91BE-04F0059D59BB}"/>
                </a:ext>
              </a:extLst>
            </p:cNvPr>
            <p:cNvSpPr/>
            <p:nvPr/>
          </p:nvSpPr>
          <p:spPr>
            <a:xfrm>
              <a:off x="4777777" y="4396588"/>
              <a:ext cx="88276" cy="120300"/>
            </a:xfrm>
            <a:custGeom>
              <a:avLst/>
              <a:gdLst>
                <a:gd name="connsiteX0" fmla="*/ 88276 w 88276"/>
                <a:gd name="connsiteY0" fmla="*/ 0 h 120300"/>
                <a:gd name="connsiteX1" fmla="*/ 0 w 88276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0300">
                  <a:moveTo>
                    <a:pt x="88276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5" name="Freeform: Shape 1074">
              <a:extLst>
                <a:ext uri="{FF2B5EF4-FFF2-40B4-BE49-F238E27FC236}">
                  <a16:creationId xmlns:a16="http://schemas.microsoft.com/office/drawing/2014/main" id="{7FA2BCF2-B277-4B49-B009-EAE47863D4E4}"/>
                </a:ext>
              </a:extLst>
            </p:cNvPr>
            <p:cNvSpPr/>
            <p:nvPr/>
          </p:nvSpPr>
          <p:spPr>
            <a:xfrm>
              <a:off x="9113895" y="4674784"/>
              <a:ext cx="120300" cy="66833"/>
            </a:xfrm>
            <a:custGeom>
              <a:avLst/>
              <a:gdLst>
                <a:gd name="connsiteX0" fmla="*/ 120301 w 120300"/>
                <a:gd name="connsiteY0" fmla="*/ 0 h 66833"/>
                <a:gd name="connsiteX1" fmla="*/ 0 w 120300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6833">
                  <a:moveTo>
                    <a:pt x="120301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6" name="Freeform: Shape 1075">
              <a:extLst>
                <a:ext uri="{FF2B5EF4-FFF2-40B4-BE49-F238E27FC236}">
                  <a16:creationId xmlns:a16="http://schemas.microsoft.com/office/drawing/2014/main" id="{B67DB235-3AF5-4860-9387-50FF07720EC8}"/>
                </a:ext>
              </a:extLst>
            </p:cNvPr>
            <p:cNvSpPr/>
            <p:nvPr/>
          </p:nvSpPr>
          <p:spPr>
            <a:xfrm>
              <a:off x="6603731" y="3538610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7" name="Freeform: Shape 1076">
              <a:extLst>
                <a:ext uri="{FF2B5EF4-FFF2-40B4-BE49-F238E27FC236}">
                  <a16:creationId xmlns:a16="http://schemas.microsoft.com/office/drawing/2014/main" id="{3FC735EC-A932-45D6-B0F0-07252FA6FC6C}"/>
                </a:ext>
              </a:extLst>
            </p:cNvPr>
            <p:cNvSpPr/>
            <p:nvPr/>
          </p:nvSpPr>
          <p:spPr>
            <a:xfrm>
              <a:off x="4555833" y="434739"/>
              <a:ext cx="120300" cy="32024"/>
            </a:xfrm>
            <a:custGeom>
              <a:avLst/>
              <a:gdLst>
                <a:gd name="connsiteX0" fmla="*/ 120301 w 120300"/>
                <a:gd name="connsiteY0" fmla="*/ 0 h 32024"/>
                <a:gd name="connsiteX1" fmla="*/ 0 w 120300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024">
                  <a:moveTo>
                    <a:pt x="120301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8" name="Freeform: Shape 1077">
              <a:extLst>
                <a:ext uri="{FF2B5EF4-FFF2-40B4-BE49-F238E27FC236}">
                  <a16:creationId xmlns:a16="http://schemas.microsoft.com/office/drawing/2014/main" id="{CFDB9E71-D9AA-4FD3-81E2-953D425B2B35}"/>
                </a:ext>
              </a:extLst>
            </p:cNvPr>
            <p:cNvSpPr/>
            <p:nvPr/>
          </p:nvSpPr>
          <p:spPr>
            <a:xfrm>
              <a:off x="3409078" y="4653341"/>
              <a:ext cx="114731" cy="93567"/>
            </a:xfrm>
            <a:custGeom>
              <a:avLst/>
              <a:gdLst>
                <a:gd name="connsiteX0" fmla="*/ 114731 w 114731"/>
                <a:gd name="connsiteY0" fmla="*/ 0 h 93567"/>
                <a:gd name="connsiteX1" fmla="*/ 0 w 114731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93567">
                  <a:moveTo>
                    <a:pt x="114731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9" name="Freeform: Shape 1078">
              <a:extLst>
                <a:ext uri="{FF2B5EF4-FFF2-40B4-BE49-F238E27FC236}">
                  <a16:creationId xmlns:a16="http://schemas.microsoft.com/office/drawing/2014/main" id="{6F617C3A-4071-405F-AC00-30C41A070D7E}"/>
                </a:ext>
              </a:extLst>
            </p:cNvPr>
            <p:cNvSpPr/>
            <p:nvPr/>
          </p:nvSpPr>
          <p:spPr>
            <a:xfrm>
              <a:off x="7060707" y="2215301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0" name="Freeform: Shape 1079">
              <a:extLst>
                <a:ext uri="{FF2B5EF4-FFF2-40B4-BE49-F238E27FC236}">
                  <a16:creationId xmlns:a16="http://schemas.microsoft.com/office/drawing/2014/main" id="{C1AC05E2-E7E3-485F-AA23-0CD3AD4B0437}"/>
                </a:ext>
              </a:extLst>
            </p:cNvPr>
            <p:cNvSpPr/>
            <p:nvPr/>
          </p:nvSpPr>
          <p:spPr>
            <a:xfrm>
              <a:off x="7290726" y="2215301"/>
              <a:ext cx="120300" cy="50682"/>
            </a:xfrm>
            <a:custGeom>
              <a:avLst/>
              <a:gdLst>
                <a:gd name="connsiteX0" fmla="*/ 120301 w 120300"/>
                <a:gd name="connsiteY0" fmla="*/ 0 h 50682"/>
                <a:gd name="connsiteX1" fmla="*/ 0 w 120300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0682">
                  <a:moveTo>
                    <a:pt x="120301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1" name="Freeform: Shape 1080">
              <a:extLst>
                <a:ext uri="{FF2B5EF4-FFF2-40B4-BE49-F238E27FC236}">
                  <a16:creationId xmlns:a16="http://schemas.microsoft.com/office/drawing/2014/main" id="{CB4A567B-CEFC-46DA-9BCB-B232E50EFC5B}"/>
                </a:ext>
              </a:extLst>
            </p:cNvPr>
            <p:cNvSpPr/>
            <p:nvPr/>
          </p:nvSpPr>
          <p:spPr>
            <a:xfrm>
              <a:off x="5461988" y="1525521"/>
              <a:ext cx="120300" cy="64049"/>
            </a:xfrm>
            <a:custGeom>
              <a:avLst/>
              <a:gdLst>
                <a:gd name="connsiteX0" fmla="*/ 120301 w 120300"/>
                <a:gd name="connsiteY0" fmla="*/ 0 h 64049"/>
                <a:gd name="connsiteX1" fmla="*/ 0 w 120300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4049">
                  <a:moveTo>
                    <a:pt x="120301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2" name="Freeform: Shape 1081">
              <a:extLst>
                <a:ext uri="{FF2B5EF4-FFF2-40B4-BE49-F238E27FC236}">
                  <a16:creationId xmlns:a16="http://schemas.microsoft.com/office/drawing/2014/main" id="{75F4C184-E79D-41B4-A457-246312B3816B}"/>
                </a:ext>
              </a:extLst>
            </p:cNvPr>
            <p:cNvSpPr/>
            <p:nvPr/>
          </p:nvSpPr>
          <p:spPr>
            <a:xfrm>
              <a:off x="1361180" y="2225883"/>
              <a:ext cx="120300" cy="40100"/>
            </a:xfrm>
            <a:custGeom>
              <a:avLst/>
              <a:gdLst>
                <a:gd name="connsiteX0" fmla="*/ 120301 w 120300"/>
                <a:gd name="connsiteY0" fmla="*/ 0 h 40100"/>
                <a:gd name="connsiteX1" fmla="*/ 0 w 120300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0100">
                  <a:moveTo>
                    <a:pt x="120301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3" name="Freeform: Shape 1082">
              <a:extLst>
                <a:ext uri="{FF2B5EF4-FFF2-40B4-BE49-F238E27FC236}">
                  <a16:creationId xmlns:a16="http://schemas.microsoft.com/office/drawing/2014/main" id="{26E0EBAC-8431-43EE-BEFE-A3E0BD3565C1}"/>
                </a:ext>
              </a:extLst>
            </p:cNvPr>
            <p:cNvSpPr/>
            <p:nvPr/>
          </p:nvSpPr>
          <p:spPr>
            <a:xfrm>
              <a:off x="9116680" y="2242035"/>
              <a:ext cx="120300" cy="26733"/>
            </a:xfrm>
            <a:custGeom>
              <a:avLst/>
              <a:gdLst>
                <a:gd name="connsiteX0" fmla="*/ 120301 w 120300"/>
                <a:gd name="connsiteY0" fmla="*/ 0 h 26733"/>
                <a:gd name="connsiteX1" fmla="*/ 0 w 120300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6733">
                  <a:moveTo>
                    <a:pt x="120301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4" name="Freeform: Shape 1083">
              <a:extLst>
                <a:ext uri="{FF2B5EF4-FFF2-40B4-BE49-F238E27FC236}">
                  <a16:creationId xmlns:a16="http://schemas.microsoft.com/office/drawing/2014/main" id="{C3E8D06E-EF14-4F46-BB82-7901010F02A7}"/>
                </a:ext>
              </a:extLst>
            </p:cNvPr>
            <p:cNvSpPr/>
            <p:nvPr/>
          </p:nvSpPr>
          <p:spPr>
            <a:xfrm>
              <a:off x="5232247" y="1514939"/>
              <a:ext cx="120300" cy="74631"/>
            </a:xfrm>
            <a:custGeom>
              <a:avLst/>
              <a:gdLst>
                <a:gd name="connsiteX0" fmla="*/ 120301 w 120300"/>
                <a:gd name="connsiteY0" fmla="*/ 0 h 74631"/>
                <a:gd name="connsiteX1" fmla="*/ 0 w 120300"/>
                <a:gd name="connsiteY1" fmla="*/ 74631 h 74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4631">
                  <a:moveTo>
                    <a:pt x="120301" y="0"/>
                  </a:moveTo>
                  <a:lnTo>
                    <a:pt x="0" y="746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5" name="Freeform: Shape 1084">
              <a:extLst>
                <a:ext uri="{FF2B5EF4-FFF2-40B4-BE49-F238E27FC236}">
                  <a16:creationId xmlns:a16="http://schemas.microsoft.com/office/drawing/2014/main" id="{71B30B65-8A21-43B5-8ACC-B9F557FBFE74}"/>
                </a:ext>
              </a:extLst>
            </p:cNvPr>
            <p:cNvSpPr/>
            <p:nvPr/>
          </p:nvSpPr>
          <p:spPr>
            <a:xfrm>
              <a:off x="5916457" y="4645265"/>
              <a:ext cx="117794" cy="101643"/>
            </a:xfrm>
            <a:custGeom>
              <a:avLst/>
              <a:gdLst>
                <a:gd name="connsiteX0" fmla="*/ 117794 w 117794"/>
                <a:gd name="connsiteY0" fmla="*/ 0 h 101643"/>
                <a:gd name="connsiteX1" fmla="*/ 0 w 117794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101643">
                  <a:moveTo>
                    <a:pt x="117794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6" name="Freeform: Shape 1085">
              <a:extLst>
                <a:ext uri="{FF2B5EF4-FFF2-40B4-BE49-F238E27FC236}">
                  <a16:creationId xmlns:a16="http://schemas.microsoft.com/office/drawing/2014/main" id="{3BCE69FA-483D-4381-9842-B86C69A79855}"/>
                </a:ext>
              </a:extLst>
            </p:cNvPr>
            <p:cNvSpPr/>
            <p:nvPr/>
          </p:nvSpPr>
          <p:spPr>
            <a:xfrm>
              <a:off x="449456" y="424157"/>
              <a:ext cx="120300" cy="42606"/>
            </a:xfrm>
            <a:custGeom>
              <a:avLst/>
              <a:gdLst>
                <a:gd name="connsiteX0" fmla="*/ 120301 w 120300"/>
                <a:gd name="connsiteY0" fmla="*/ 0 h 42606"/>
                <a:gd name="connsiteX1" fmla="*/ 0 w 120300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2606">
                  <a:moveTo>
                    <a:pt x="120301" y="0"/>
                  </a:moveTo>
                  <a:lnTo>
                    <a:pt x="0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7" name="Freeform: Shape 1086">
              <a:extLst>
                <a:ext uri="{FF2B5EF4-FFF2-40B4-BE49-F238E27FC236}">
                  <a16:creationId xmlns:a16="http://schemas.microsoft.com/office/drawing/2014/main" id="{D2C08B51-B5D6-4C63-BCD9-F6D7B7FBE050}"/>
                </a:ext>
              </a:extLst>
            </p:cNvPr>
            <p:cNvSpPr/>
            <p:nvPr/>
          </p:nvSpPr>
          <p:spPr>
            <a:xfrm>
              <a:off x="4325814" y="413296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8" name="Freeform: Shape 1087">
              <a:extLst>
                <a:ext uri="{FF2B5EF4-FFF2-40B4-BE49-F238E27FC236}">
                  <a16:creationId xmlns:a16="http://schemas.microsoft.com/office/drawing/2014/main" id="{1127180F-A39F-4700-BF2F-948E00207C27}"/>
                </a:ext>
              </a:extLst>
            </p:cNvPr>
            <p:cNvSpPr/>
            <p:nvPr/>
          </p:nvSpPr>
          <p:spPr>
            <a:xfrm>
              <a:off x="7969646" y="4626608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9" name="Freeform: Shape 1088">
              <a:extLst>
                <a:ext uri="{FF2B5EF4-FFF2-40B4-BE49-F238E27FC236}">
                  <a16:creationId xmlns:a16="http://schemas.microsoft.com/office/drawing/2014/main" id="{EECEC797-2F78-4BA3-9770-6574EA077292}"/>
                </a:ext>
              </a:extLst>
            </p:cNvPr>
            <p:cNvSpPr/>
            <p:nvPr/>
          </p:nvSpPr>
          <p:spPr>
            <a:xfrm>
              <a:off x="3866053" y="378765"/>
              <a:ext cx="120300" cy="87997"/>
            </a:xfrm>
            <a:custGeom>
              <a:avLst/>
              <a:gdLst>
                <a:gd name="connsiteX0" fmla="*/ 120301 w 120300"/>
                <a:gd name="connsiteY0" fmla="*/ 0 h 87997"/>
                <a:gd name="connsiteX1" fmla="*/ 0 w 120300"/>
                <a:gd name="connsiteY1" fmla="*/ 87998 h 87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7997">
                  <a:moveTo>
                    <a:pt x="120301" y="0"/>
                  </a:moveTo>
                  <a:lnTo>
                    <a:pt x="0" y="879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0" name="Freeform: Shape 1089">
              <a:extLst>
                <a:ext uri="{FF2B5EF4-FFF2-40B4-BE49-F238E27FC236}">
                  <a16:creationId xmlns:a16="http://schemas.microsoft.com/office/drawing/2014/main" id="{6179EEFB-CE3D-45B8-91E2-44284E834223}"/>
                </a:ext>
              </a:extLst>
            </p:cNvPr>
            <p:cNvSpPr/>
            <p:nvPr/>
          </p:nvSpPr>
          <p:spPr>
            <a:xfrm>
              <a:off x="674185" y="389347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1" name="Freeform: Shape 1090">
              <a:extLst>
                <a:ext uri="{FF2B5EF4-FFF2-40B4-BE49-F238E27FC236}">
                  <a16:creationId xmlns:a16="http://schemas.microsoft.com/office/drawing/2014/main" id="{BB2F9124-4335-451D-9A33-B30A055E6347}"/>
                </a:ext>
              </a:extLst>
            </p:cNvPr>
            <p:cNvSpPr/>
            <p:nvPr/>
          </p:nvSpPr>
          <p:spPr>
            <a:xfrm>
              <a:off x="6370927" y="3316666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2" name="Freeform: Shape 1091">
              <a:extLst>
                <a:ext uri="{FF2B5EF4-FFF2-40B4-BE49-F238E27FC236}">
                  <a16:creationId xmlns:a16="http://schemas.microsoft.com/office/drawing/2014/main" id="{7B48EE9A-0C90-4451-9F84-975DA9DD2609}"/>
                </a:ext>
              </a:extLst>
            </p:cNvPr>
            <p:cNvSpPr/>
            <p:nvPr/>
          </p:nvSpPr>
          <p:spPr>
            <a:xfrm>
              <a:off x="5010303" y="3343399"/>
              <a:ext cx="120300" cy="48175"/>
            </a:xfrm>
            <a:custGeom>
              <a:avLst/>
              <a:gdLst>
                <a:gd name="connsiteX0" fmla="*/ 120301 w 120300"/>
                <a:gd name="connsiteY0" fmla="*/ 0 h 48175"/>
                <a:gd name="connsiteX1" fmla="*/ 0 w 120300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8175">
                  <a:moveTo>
                    <a:pt x="120301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4" name="Freeform: Shape 1093">
              <a:extLst>
                <a:ext uri="{FF2B5EF4-FFF2-40B4-BE49-F238E27FC236}">
                  <a16:creationId xmlns:a16="http://schemas.microsoft.com/office/drawing/2014/main" id="{E4271E19-A30A-47DF-AF97-0C1FFDE45D32}"/>
                </a:ext>
              </a:extLst>
            </p:cNvPr>
            <p:cNvSpPr/>
            <p:nvPr/>
          </p:nvSpPr>
          <p:spPr>
            <a:xfrm>
              <a:off x="4323308" y="3359551"/>
              <a:ext cx="120300" cy="32024"/>
            </a:xfrm>
            <a:custGeom>
              <a:avLst/>
              <a:gdLst>
                <a:gd name="connsiteX0" fmla="*/ 120301 w 120300"/>
                <a:gd name="connsiteY0" fmla="*/ 0 h 32024"/>
                <a:gd name="connsiteX1" fmla="*/ 0 w 120300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024">
                  <a:moveTo>
                    <a:pt x="120301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6" name="Freeform: Shape 1095">
              <a:extLst>
                <a:ext uri="{FF2B5EF4-FFF2-40B4-BE49-F238E27FC236}">
                  <a16:creationId xmlns:a16="http://schemas.microsoft.com/office/drawing/2014/main" id="{AA696B67-1CFD-41C6-AC74-1DAB9DA24276}"/>
                </a:ext>
              </a:extLst>
            </p:cNvPr>
            <p:cNvSpPr/>
            <p:nvPr/>
          </p:nvSpPr>
          <p:spPr>
            <a:xfrm>
              <a:off x="6376496" y="5110595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8" name="Freeform: Shape 1097">
              <a:extLst>
                <a:ext uri="{FF2B5EF4-FFF2-40B4-BE49-F238E27FC236}">
                  <a16:creationId xmlns:a16="http://schemas.microsoft.com/office/drawing/2014/main" id="{BFB57669-6BFC-4779-A9AC-59D5ADEC6144}"/>
                </a:ext>
              </a:extLst>
            </p:cNvPr>
            <p:cNvSpPr/>
            <p:nvPr/>
          </p:nvSpPr>
          <p:spPr>
            <a:xfrm>
              <a:off x="9798384" y="2717947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0" name="Freeform: Shape 1099">
              <a:extLst>
                <a:ext uri="{FF2B5EF4-FFF2-40B4-BE49-F238E27FC236}">
                  <a16:creationId xmlns:a16="http://schemas.microsoft.com/office/drawing/2014/main" id="{4A8A5283-35A2-42AA-9214-257824E24540}"/>
                </a:ext>
              </a:extLst>
            </p:cNvPr>
            <p:cNvSpPr/>
            <p:nvPr/>
          </p:nvSpPr>
          <p:spPr>
            <a:xfrm>
              <a:off x="5007518" y="466763"/>
              <a:ext cx="117794" cy="2784"/>
            </a:xfrm>
            <a:custGeom>
              <a:avLst/>
              <a:gdLst>
                <a:gd name="connsiteX0" fmla="*/ 117794 w 117794"/>
                <a:gd name="connsiteY0" fmla="*/ 0 h 2784"/>
                <a:gd name="connsiteX1" fmla="*/ 0 w 117794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4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2" name="Freeform: Shape 1101">
              <a:extLst>
                <a:ext uri="{FF2B5EF4-FFF2-40B4-BE49-F238E27FC236}">
                  <a16:creationId xmlns:a16="http://schemas.microsoft.com/office/drawing/2014/main" id="{BF40B05C-34A6-4181-9EE5-FFC4CA941DB4}"/>
                </a:ext>
              </a:extLst>
            </p:cNvPr>
            <p:cNvSpPr/>
            <p:nvPr/>
          </p:nvSpPr>
          <p:spPr>
            <a:xfrm>
              <a:off x="901420" y="2268768"/>
              <a:ext cx="117516" cy="8075"/>
            </a:xfrm>
            <a:custGeom>
              <a:avLst/>
              <a:gdLst>
                <a:gd name="connsiteX0" fmla="*/ 117516 w 117516"/>
                <a:gd name="connsiteY0" fmla="*/ 8076 h 8075"/>
                <a:gd name="connsiteX1" fmla="*/ 0 w 117516"/>
                <a:gd name="connsiteY1" fmla="*/ 0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75">
                  <a:moveTo>
                    <a:pt x="117516" y="8076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3" name="Freeform: Shape 1102">
              <a:extLst>
                <a:ext uri="{FF2B5EF4-FFF2-40B4-BE49-F238E27FC236}">
                  <a16:creationId xmlns:a16="http://schemas.microsoft.com/office/drawing/2014/main" id="{B28AD950-563D-479F-8BA4-09E8538E3666}"/>
                </a:ext>
              </a:extLst>
            </p:cNvPr>
            <p:cNvSpPr/>
            <p:nvPr/>
          </p:nvSpPr>
          <p:spPr>
            <a:xfrm>
              <a:off x="3184349" y="3388791"/>
              <a:ext cx="117794" cy="2784"/>
            </a:xfrm>
            <a:custGeom>
              <a:avLst/>
              <a:gdLst>
                <a:gd name="connsiteX0" fmla="*/ 117795 w 117794"/>
                <a:gd name="connsiteY0" fmla="*/ 0 h 2784"/>
                <a:gd name="connsiteX1" fmla="*/ 0 w 117794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5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4" name="Freeform: Shape 1103">
              <a:extLst>
                <a:ext uri="{FF2B5EF4-FFF2-40B4-BE49-F238E27FC236}">
                  <a16:creationId xmlns:a16="http://schemas.microsoft.com/office/drawing/2014/main" id="{BFE4693F-C636-462F-A8EC-864C19836DC1}"/>
                </a:ext>
              </a:extLst>
            </p:cNvPr>
            <p:cNvSpPr/>
            <p:nvPr/>
          </p:nvSpPr>
          <p:spPr>
            <a:xfrm>
              <a:off x="2954608" y="3394082"/>
              <a:ext cx="117516" cy="5569"/>
            </a:xfrm>
            <a:custGeom>
              <a:avLst/>
              <a:gdLst>
                <a:gd name="connsiteX0" fmla="*/ 117516 w 117516"/>
                <a:gd name="connsiteY0" fmla="*/ 5569 h 5569"/>
                <a:gd name="connsiteX1" fmla="*/ 0 w 117516"/>
                <a:gd name="connsiteY1" fmla="*/ 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569">
                  <a:moveTo>
                    <a:pt x="117516" y="556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5" name="Freeform: Shape 1104">
              <a:extLst>
                <a:ext uri="{FF2B5EF4-FFF2-40B4-BE49-F238E27FC236}">
                  <a16:creationId xmlns:a16="http://schemas.microsoft.com/office/drawing/2014/main" id="{A0B60928-B93F-48D0-992F-B0DED698D0CF}"/>
                </a:ext>
              </a:extLst>
            </p:cNvPr>
            <p:cNvSpPr/>
            <p:nvPr/>
          </p:nvSpPr>
          <p:spPr>
            <a:xfrm>
              <a:off x="6603731" y="3303299"/>
              <a:ext cx="114731" cy="88276"/>
            </a:xfrm>
            <a:custGeom>
              <a:avLst/>
              <a:gdLst>
                <a:gd name="connsiteX0" fmla="*/ 114732 w 114731"/>
                <a:gd name="connsiteY0" fmla="*/ 0 h 88276"/>
                <a:gd name="connsiteX1" fmla="*/ 0 w 114731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88276">
                  <a:moveTo>
                    <a:pt x="114732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6" name="Freeform: Shape 1105">
              <a:extLst>
                <a:ext uri="{FF2B5EF4-FFF2-40B4-BE49-F238E27FC236}">
                  <a16:creationId xmlns:a16="http://schemas.microsoft.com/office/drawing/2014/main" id="{D70B795D-14F7-4239-A1B2-7D5E019DA98A}"/>
                </a:ext>
              </a:extLst>
            </p:cNvPr>
            <p:cNvSpPr/>
            <p:nvPr/>
          </p:nvSpPr>
          <p:spPr>
            <a:xfrm>
              <a:off x="4320523" y="1472054"/>
              <a:ext cx="91060" cy="117516"/>
            </a:xfrm>
            <a:custGeom>
              <a:avLst/>
              <a:gdLst>
                <a:gd name="connsiteX0" fmla="*/ 91061 w 91060"/>
                <a:gd name="connsiteY0" fmla="*/ 0 h 117516"/>
                <a:gd name="connsiteX1" fmla="*/ 0 w 91060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516">
                  <a:moveTo>
                    <a:pt x="91061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7" name="Freeform: Shape 1106">
              <a:extLst>
                <a:ext uri="{FF2B5EF4-FFF2-40B4-BE49-F238E27FC236}">
                  <a16:creationId xmlns:a16="http://schemas.microsoft.com/office/drawing/2014/main" id="{EA30963B-8593-49DB-9B73-3AE8216947C3}"/>
                </a:ext>
              </a:extLst>
            </p:cNvPr>
            <p:cNvSpPr/>
            <p:nvPr/>
          </p:nvSpPr>
          <p:spPr>
            <a:xfrm>
              <a:off x="10022834" y="4292439"/>
              <a:ext cx="117516" cy="5291"/>
            </a:xfrm>
            <a:custGeom>
              <a:avLst/>
              <a:gdLst>
                <a:gd name="connsiteX0" fmla="*/ 0 w 117516"/>
                <a:gd name="connsiteY0" fmla="*/ 0 h 5291"/>
                <a:gd name="connsiteX1" fmla="*/ 117516 w 117516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291">
                  <a:moveTo>
                    <a:pt x="0" y="0"/>
                  </a:moveTo>
                  <a:lnTo>
                    <a:pt x="117516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8" name="Freeform: Shape 1107">
              <a:extLst>
                <a:ext uri="{FF2B5EF4-FFF2-40B4-BE49-F238E27FC236}">
                  <a16:creationId xmlns:a16="http://schemas.microsoft.com/office/drawing/2014/main" id="{0A266F2C-3C8E-457D-BFB0-A3A5A4F685F3}"/>
                </a:ext>
              </a:extLst>
            </p:cNvPr>
            <p:cNvSpPr/>
            <p:nvPr/>
          </p:nvSpPr>
          <p:spPr>
            <a:xfrm>
              <a:off x="7058200" y="3501016"/>
              <a:ext cx="98858" cy="115009"/>
            </a:xfrm>
            <a:custGeom>
              <a:avLst/>
              <a:gdLst>
                <a:gd name="connsiteX0" fmla="*/ 98859 w 98858"/>
                <a:gd name="connsiteY0" fmla="*/ 0 h 115009"/>
                <a:gd name="connsiteX1" fmla="*/ 0 w 98858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15009">
                  <a:moveTo>
                    <a:pt x="98859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9" name="Freeform: Shape 1108">
              <a:extLst>
                <a:ext uri="{FF2B5EF4-FFF2-40B4-BE49-F238E27FC236}">
                  <a16:creationId xmlns:a16="http://schemas.microsoft.com/office/drawing/2014/main" id="{9AF49720-720C-476E-9010-FAFF58EFAF26}"/>
                </a:ext>
              </a:extLst>
            </p:cNvPr>
            <p:cNvSpPr/>
            <p:nvPr/>
          </p:nvSpPr>
          <p:spPr>
            <a:xfrm>
              <a:off x="9111110" y="3498509"/>
              <a:ext cx="91060" cy="117516"/>
            </a:xfrm>
            <a:custGeom>
              <a:avLst/>
              <a:gdLst>
                <a:gd name="connsiteX0" fmla="*/ 91061 w 91060"/>
                <a:gd name="connsiteY0" fmla="*/ 0 h 117516"/>
                <a:gd name="connsiteX1" fmla="*/ 0 w 91060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516">
                  <a:moveTo>
                    <a:pt x="91061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0" name="Freeform: Shape 1109">
              <a:extLst>
                <a:ext uri="{FF2B5EF4-FFF2-40B4-BE49-F238E27FC236}">
                  <a16:creationId xmlns:a16="http://schemas.microsoft.com/office/drawing/2014/main" id="{286E15B2-C46D-4CF4-AA15-77300120AF7B}"/>
                </a:ext>
              </a:extLst>
            </p:cNvPr>
            <p:cNvSpPr/>
            <p:nvPr/>
          </p:nvSpPr>
          <p:spPr>
            <a:xfrm>
              <a:off x="8199665" y="4623823"/>
              <a:ext cx="96073" cy="117794"/>
            </a:xfrm>
            <a:custGeom>
              <a:avLst/>
              <a:gdLst>
                <a:gd name="connsiteX0" fmla="*/ 96074 w 96073"/>
                <a:gd name="connsiteY0" fmla="*/ 0 h 117794"/>
                <a:gd name="connsiteX1" fmla="*/ 0 w 96073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7794">
                  <a:moveTo>
                    <a:pt x="96074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1" name="Freeform: Shape 1110">
              <a:extLst>
                <a:ext uri="{FF2B5EF4-FFF2-40B4-BE49-F238E27FC236}">
                  <a16:creationId xmlns:a16="http://schemas.microsoft.com/office/drawing/2014/main" id="{B12CFEF8-F508-4881-9CE8-5C27C37D9BFB}"/>
                </a:ext>
              </a:extLst>
            </p:cNvPr>
            <p:cNvSpPr/>
            <p:nvPr/>
          </p:nvSpPr>
          <p:spPr>
            <a:xfrm>
              <a:off x="4096073" y="397423"/>
              <a:ext cx="117516" cy="69340"/>
            </a:xfrm>
            <a:custGeom>
              <a:avLst/>
              <a:gdLst>
                <a:gd name="connsiteX0" fmla="*/ 117516 w 117516"/>
                <a:gd name="connsiteY0" fmla="*/ 0 h 69340"/>
                <a:gd name="connsiteX1" fmla="*/ 0 w 117516"/>
                <a:gd name="connsiteY1" fmla="*/ 69340 h 6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9340">
                  <a:moveTo>
                    <a:pt x="117516" y="0"/>
                  </a:moveTo>
                  <a:lnTo>
                    <a:pt x="0" y="693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2" name="Freeform: Shape 1111">
              <a:extLst>
                <a:ext uri="{FF2B5EF4-FFF2-40B4-BE49-F238E27FC236}">
                  <a16:creationId xmlns:a16="http://schemas.microsoft.com/office/drawing/2014/main" id="{CF6F251A-DDC7-4D21-9EB0-8EC15BBFD670}"/>
                </a:ext>
              </a:extLst>
            </p:cNvPr>
            <p:cNvSpPr/>
            <p:nvPr/>
          </p:nvSpPr>
          <p:spPr>
            <a:xfrm>
              <a:off x="1585630" y="2717947"/>
              <a:ext cx="117794" cy="2784"/>
            </a:xfrm>
            <a:custGeom>
              <a:avLst/>
              <a:gdLst>
                <a:gd name="connsiteX0" fmla="*/ 117795 w 117794"/>
                <a:gd name="connsiteY0" fmla="*/ 0 h 2784"/>
                <a:gd name="connsiteX1" fmla="*/ 0 w 117794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5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3" name="Freeform: Shape 1112">
              <a:extLst>
                <a:ext uri="{FF2B5EF4-FFF2-40B4-BE49-F238E27FC236}">
                  <a16:creationId xmlns:a16="http://schemas.microsoft.com/office/drawing/2014/main" id="{FDA7D25F-3C24-43E5-AA58-D22D5E1E1A6C}"/>
                </a:ext>
              </a:extLst>
            </p:cNvPr>
            <p:cNvSpPr/>
            <p:nvPr/>
          </p:nvSpPr>
          <p:spPr>
            <a:xfrm>
              <a:off x="903926" y="1514939"/>
              <a:ext cx="117794" cy="74631"/>
            </a:xfrm>
            <a:custGeom>
              <a:avLst/>
              <a:gdLst>
                <a:gd name="connsiteX0" fmla="*/ 117794 w 117794"/>
                <a:gd name="connsiteY0" fmla="*/ 0 h 74631"/>
                <a:gd name="connsiteX1" fmla="*/ 0 w 117794"/>
                <a:gd name="connsiteY1" fmla="*/ 74631 h 74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4631">
                  <a:moveTo>
                    <a:pt x="117794" y="0"/>
                  </a:moveTo>
                  <a:lnTo>
                    <a:pt x="0" y="746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4" name="Freeform: Shape 1113">
              <a:extLst>
                <a:ext uri="{FF2B5EF4-FFF2-40B4-BE49-F238E27FC236}">
                  <a16:creationId xmlns:a16="http://schemas.microsoft.com/office/drawing/2014/main" id="{6FBA0390-D7C4-42BA-8FCC-F09AF7AD7FEC}"/>
                </a:ext>
              </a:extLst>
            </p:cNvPr>
            <p:cNvSpPr/>
            <p:nvPr/>
          </p:nvSpPr>
          <p:spPr>
            <a:xfrm>
              <a:off x="6830966" y="1592355"/>
              <a:ext cx="117516" cy="2784"/>
            </a:xfrm>
            <a:custGeom>
              <a:avLst/>
              <a:gdLst>
                <a:gd name="connsiteX0" fmla="*/ 0 w 117516"/>
                <a:gd name="connsiteY0" fmla="*/ 0 h 2784"/>
                <a:gd name="connsiteX1" fmla="*/ 117516 w 117516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0" y="0"/>
                  </a:moveTo>
                  <a:lnTo>
                    <a:pt x="117516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5" name="Freeform: Shape 1114">
              <a:extLst>
                <a:ext uri="{FF2B5EF4-FFF2-40B4-BE49-F238E27FC236}">
                  <a16:creationId xmlns:a16="http://schemas.microsoft.com/office/drawing/2014/main" id="{E0660CDD-5998-481E-970E-EFD33710AB97}"/>
                </a:ext>
              </a:extLst>
            </p:cNvPr>
            <p:cNvSpPr/>
            <p:nvPr/>
          </p:nvSpPr>
          <p:spPr>
            <a:xfrm>
              <a:off x="2270119" y="4968852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6" name="Freeform: Shape 1115">
              <a:extLst>
                <a:ext uri="{FF2B5EF4-FFF2-40B4-BE49-F238E27FC236}">
                  <a16:creationId xmlns:a16="http://schemas.microsoft.com/office/drawing/2014/main" id="{BAB7EB39-8649-4D21-81D5-9E9E20E9BD41}"/>
                </a:ext>
              </a:extLst>
            </p:cNvPr>
            <p:cNvSpPr/>
            <p:nvPr/>
          </p:nvSpPr>
          <p:spPr>
            <a:xfrm>
              <a:off x="9568365" y="2268768"/>
              <a:ext cx="117516" cy="8075"/>
            </a:xfrm>
            <a:custGeom>
              <a:avLst/>
              <a:gdLst>
                <a:gd name="connsiteX0" fmla="*/ 117516 w 117516"/>
                <a:gd name="connsiteY0" fmla="*/ 8076 h 8075"/>
                <a:gd name="connsiteX1" fmla="*/ 0 w 117516"/>
                <a:gd name="connsiteY1" fmla="*/ 0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75">
                  <a:moveTo>
                    <a:pt x="117516" y="8076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7" name="Freeform: Shape 1116">
              <a:extLst>
                <a:ext uri="{FF2B5EF4-FFF2-40B4-BE49-F238E27FC236}">
                  <a16:creationId xmlns:a16="http://schemas.microsoft.com/office/drawing/2014/main" id="{44A6F6F1-975A-4296-9E12-77A142E88E49}"/>
                </a:ext>
              </a:extLst>
            </p:cNvPr>
            <p:cNvSpPr/>
            <p:nvPr/>
          </p:nvSpPr>
          <p:spPr>
            <a:xfrm>
              <a:off x="7285435" y="4663923"/>
              <a:ext cx="114731" cy="82985"/>
            </a:xfrm>
            <a:custGeom>
              <a:avLst/>
              <a:gdLst>
                <a:gd name="connsiteX0" fmla="*/ 114731 w 114731"/>
                <a:gd name="connsiteY0" fmla="*/ 0 h 82985"/>
                <a:gd name="connsiteX1" fmla="*/ 0 w 114731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82985">
                  <a:moveTo>
                    <a:pt x="11473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8" name="Freeform: Shape 1117">
              <a:extLst>
                <a:ext uri="{FF2B5EF4-FFF2-40B4-BE49-F238E27FC236}">
                  <a16:creationId xmlns:a16="http://schemas.microsoft.com/office/drawing/2014/main" id="{373C6961-B6C8-4DC1-9921-C21ED0CB7454}"/>
                </a:ext>
              </a:extLst>
            </p:cNvPr>
            <p:cNvSpPr/>
            <p:nvPr/>
          </p:nvSpPr>
          <p:spPr>
            <a:xfrm>
              <a:off x="10022834" y="3169632"/>
              <a:ext cx="117516" cy="2784"/>
            </a:xfrm>
            <a:custGeom>
              <a:avLst/>
              <a:gdLst>
                <a:gd name="connsiteX0" fmla="*/ 117516 w 117516"/>
                <a:gd name="connsiteY0" fmla="*/ 2785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9" name="Freeform: Shape 1118">
              <a:extLst>
                <a:ext uri="{FF2B5EF4-FFF2-40B4-BE49-F238E27FC236}">
                  <a16:creationId xmlns:a16="http://schemas.microsoft.com/office/drawing/2014/main" id="{308934A4-C610-4582-BC11-ED901C0EB2FE}"/>
                </a:ext>
              </a:extLst>
            </p:cNvPr>
            <p:cNvSpPr/>
            <p:nvPr/>
          </p:nvSpPr>
          <p:spPr>
            <a:xfrm>
              <a:off x="2500139" y="3166847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0" name="Freeform: Shape 1119">
              <a:extLst>
                <a:ext uri="{FF2B5EF4-FFF2-40B4-BE49-F238E27FC236}">
                  <a16:creationId xmlns:a16="http://schemas.microsoft.com/office/drawing/2014/main" id="{118E0EB6-F15D-4960-A92A-921881DA1A72}"/>
                </a:ext>
              </a:extLst>
            </p:cNvPr>
            <p:cNvSpPr/>
            <p:nvPr/>
          </p:nvSpPr>
          <p:spPr>
            <a:xfrm>
              <a:off x="4318017" y="4402158"/>
              <a:ext cx="93567" cy="114731"/>
            </a:xfrm>
            <a:custGeom>
              <a:avLst/>
              <a:gdLst>
                <a:gd name="connsiteX0" fmla="*/ 93567 w 93567"/>
                <a:gd name="connsiteY0" fmla="*/ 0 h 114731"/>
                <a:gd name="connsiteX1" fmla="*/ 0 w 93567"/>
                <a:gd name="connsiteY1" fmla="*/ 114731 h 11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14731">
                  <a:moveTo>
                    <a:pt x="93567" y="0"/>
                  </a:moveTo>
                  <a:lnTo>
                    <a:pt x="0" y="1147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1" name="Freeform: Shape 1120">
              <a:extLst>
                <a:ext uri="{FF2B5EF4-FFF2-40B4-BE49-F238E27FC236}">
                  <a16:creationId xmlns:a16="http://schemas.microsoft.com/office/drawing/2014/main" id="{93431E73-7F86-43ED-8BDE-293052E4B299}"/>
                </a:ext>
              </a:extLst>
            </p:cNvPr>
            <p:cNvSpPr/>
            <p:nvPr/>
          </p:nvSpPr>
          <p:spPr>
            <a:xfrm>
              <a:off x="4325814" y="3108089"/>
              <a:ext cx="117794" cy="58758"/>
            </a:xfrm>
            <a:custGeom>
              <a:avLst/>
              <a:gdLst>
                <a:gd name="connsiteX0" fmla="*/ 117794 w 117794"/>
                <a:gd name="connsiteY0" fmla="*/ 0 h 58758"/>
                <a:gd name="connsiteX1" fmla="*/ 0 w 117794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58758">
                  <a:moveTo>
                    <a:pt x="117794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2" name="Freeform: Shape 1121">
              <a:extLst>
                <a:ext uri="{FF2B5EF4-FFF2-40B4-BE49-F238E27FC236}">
                  <a16:creationId xmlns:a16="http://schemas.microsoft.com/office/drawing/2014/main" id="{8EA6CE69-3FC1-4040-BA65-3B18AE812305}"/>
                </a:ext>
              </a:extLst>
            </p:cNvPr>
            <p:cNvSpPr/>
            <p:nvPr/>
          </p:nvSpPr>
          <p:spPr>
            <a:xfrm>
              <a:off x="9113895" y="5418031"/>
              <a:ext cx="117516" cy="2506"/>
            </a:xfrm>
            <a:custGeom>
              <a:avLst/>
              <a:gdLst>
                <a:gd name="connsiteX0" fmla="*/ 117516 w 117516"/>
                <a:gd name="connsiteY0" fmla="*/ 2506 h 2506"/>
                <a:gd name="connsiteX1" fmla="*/ 0 w 117516"/>
                <a:gd name="connsiteY1" fmla="*/ 0 h 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506">
                  <a:moveTo>
                    <a:pt x="117516" y="2506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3" name="Freeform: Shape 1122">
              <a:extLst>
                <a:ext uri="{FF2B5EF4-FFF2-40B4-BE49-F238E27FC236}">
                  <a16:creationId xmlns:a16="http://schemas.microsoft.com/office/drawing/2014/main" id="{791FC01E-AF80-46DE-B152-C7463877CB36}"/>
                </a:ext>
              </a:extLst>
            </p:cNvPr>
            <p:cNvSpPr/>
            <p:nvPr/>
          </p:nvSpPr>
          <p:spPr>
            <a:xfrm>
              <a:off x="6376496" y="1365120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4" name="Freeform: Shape 1123">
              <a:extLst>
                <a:ext uri="{FF2B5EF4-FFF2-40B4-BE49-F238E27FC236}">
                  <a16:creationId xmlns:a16="http://schemas.microsoft.com/office/drawing/2014/main" id="{C8AB3A2B-E1D6-4668-BD03-548EDEA0AA0A}"/>
                </a:ext>
              </a:extLst>
            </p:cNvPr>
            <p:cNvSpPr/>
            <p:nvPr/>
          </p:nvSpPr>
          <p:spPr>
            <a:xfrm>
              <a:off x="5010303" y="3102798"/>
              <a:ext cx="117516" cy="64049"/>
            </a:xfrm>
            <a:custGeom>
              <a:avLst/>
              <a:gdLst>
                <a:gd name="connsiteX0" fmla="*/ 117516 w 117516"/>
                <a:gd name="connsiteY0" fmla="*/ 0 h 64049"/>
                <a:gd name="connsiteX1" fmla="*/ 0 w 117516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4049">
                  <a:moveTo>
                    <a:pt x="117516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5" name="Freeform: Shape 1124">
              <a:extLst>
                <a:ext uri="{FF2B5EF4-FFF2-40B4-BE49-F238E27FC236}">
                  <a16:creationId xmlns:a16="http://schemas.microsoft.com/office/drawing/2014/main" id="{5CFB51D8-E8B1-421B-9B15-2585DF496194}"/>
                </a:ext>
              </a:extLst>
            </p:cNvPr>
            <p:cNvSpPr/>
            <p:nvPr/>
          </p:nvSpPr>
          <p:spPr>
            <a:xfrm>
              <a:off x="9571149" y="3551976"/>
              <a:ext cx="117516" cy="64049"/>
            </a:xfrm>
            <a:custGeom>
              <a:avLst/>
              <a:gdLst>
                <a:gd name="connsiteX0" fmla="*/ 117516 w 117516"/>
                <a:gd name="connsiteY0" fmla="*/ 0 h 64049"/>
                <a:gd name="connsiteX1" fmla="*/ 0 w 117516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4049">
                  <a:moveTo>
                    <a:pt x="117516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6" name="Freeform: Shape 1125">
              <a:extLst>
                <a:ext uri="{FF2B5EF4-FFF2-40B4-BE49-F238E27FC236}">
                  <a16:creationId xmlns:a16="http://schemas.microsoft.com/office/drawing/2014/main" id="{CE9BF40A-DCD5-4980-8775-264E418A5DB5}"/>
                </a:ext>
              </a:extLst>
            </p:cNvPr>
            <p:cNvSpPr/>
            <p:nvPr/>
          </p:nvSpPr>
          <p:spPr>
            <a:xfrm>
              <a:off x="896129" y="1266262"/>
              <a:ext cx="117516" cy="101643"/>
            </a:xfrm>
            <a:custGeom>
              <a:avLst/>
              <a:gdLst>
                <a:gd name="connsiteX0" fmla="*/ 117516 w 117516"/>
                <a:gd name="connsiteY0" fmla="*/ 0 h 101643"/>
                <a:gd name="connsiteX1" fmla="*/ 0 w 117516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101643">
                  <a:moveTo>
                    <a:pt x="117516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7" name="Freeform: Shape 1126">
              <a:extLst>
                <a:ext uri="{FF2B5EF4-FFF2-40B4-BE49-F238E27FC236}">
                  <a16:creationId xmlns:a16="http://schemas.microsoft.com/office/drawing/2014/main" id="{96D12830-8354-45CC-9075-BA05AFEEB103}"/>
                </a:ext>
              </a:extLst>
            </p:cNvPr>
            <p:cNvSpPr/>
            <p:nvPr/>
          </p:nvSpPr>
          <p:spPr>
            <a:xfrm>
              <a:off x="7290726" y="5412461"/>
              <a:ext cx="117516" cy="5569"/>
            </a:xfrm>
            <a:custGeom>
              <a:avLst/>
              <a:gdLst>
                <a:gd name="connsiteX0" fmla="*/ 117516 w 117516"/>
                <a:gd name="connsiteY0" fmla="*/ 0 h 5569"/>
                <a:gd name="connsiteX1" fmla="*/ 0 w 117516"/>
                <a:gd name="connsiteY1" fmla="*/ 557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569">
                  <a:moveTo>
                    <a:pt x="117516" y="0"/>
                  </a:moveTo>
                  <a:lnTo>
                    <a:pt x="0" y="55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8" name="Freeform: Shape 1127">
              <a:extLst>
                <a:ext uri="{FF2B5EF4-FFF2-40B4-BE49-F238E27FC236}">
                  <a16:creationId xmlns:a16="http://schemas.microsoft.com/office/drawing/2014/main" id="{D5EC83CE-256C-4997-844E-956916DC43EA}"/>
                </a:ext>
              </a:extLst>
            </p:cNvPr>
            <p:cNvSpPr/>
            <p:nvPr/>
          </p:nvSpPr>
          <p:spPr>
            <a:xfrm>
              <a:off x="6146477" y="5532762"/>
              <a:ext cx="106934" cy="112503"/>
            </a:xfrm>
            <a:custGeom>
              <a:avLst/>
              <a:gdLst>
                <a:gd name="connsiteX0" fmla="*/ 106934 w 106934"/>
                <a:gd name="connsiteY0" fmla="*/ 0 h 112503"/>
                <a:gd name="connsiteX1" fmla="*/ 0 w 106934"/>
                <a:gd name="connsiteY1" fmla="*/ 112503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12503">
                  <a:moveTo>
                    <a:pt x="106934" y="0"/>
                  </a:moveTo>
                  <a:lnTo>
                    <a:pt x="0" y="1125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9" name="Freeform: Shape 1128">
              <a:extLst>
                <a:ext uri="{FF2B5EF4-FFF2-40B4-BE49-F238E27FC236}">
                  <a16:creationId xmlns:a16="http://schemas.microsoft.com/office/drawing/2014/main" id="{A554AC66-7226-43CB-8C65-8CB485A25FD7}"/>
                </a:ext>
              </a:extLst>
            </p:cNvPr>
            <p:cNvSpPr/>
            <p:nvPr/>
          </p:nvSpPr>
          <p:spPr>
            <a:xfrm>
              <a:off x="2724589" y="2383778"/>
              <a:ext cx="106933" cy="112225"/>
            </a:xfrm>
            <a:custGeom>
              <a:avLst/>
              <a:gdLst>
                <a:gd name="connsiteX0" fmla="*/ 106934 w 106933"/>
                <a:gd name="connsiteY0" fmla="*/ 0 h 112225"/>
                <a:gd name="connsiteX1" fmla="*/ 0 w 106933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12225">
                  <a:moveTo>
                    <a:pt x="106934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0" name="Freeform: Shape 1129">
              <a:extLst>
                <a:ext uri="{FF2B5EF4-FFF2-40B4-BE49-F238E27FC236}">
                  <a16:creationId xmlns:a16="http://schemas.microsoft.com/office/drawing/2014/main" id="{B7FE9865-D5C1-4529-8CCE-B2271428325A}"/>
                </a:ext>
              </a:extLst>
            </p:cNvPr>
            <p:cNvSpPr/>
            <p:nvPr/>
          </p:nvSpPr>
          <p:spPr>
            <a:xfrm>
              <a:off x="898635" y="573697"/>
              <a:ext cx="96351" cy="117794"/>
            </a:xfrm>
            <a:custGeom>
              <a:avLst/>
              <a:gdLst>
                <a:gd name="connsiteX0" fmla="*/ 96352 w 96351"/>
                <a:gd name="connsiteY0" fmla="*/ 0 h 117794"/>
                <a:gd name="connsiteX1" fmla="*/ 0 w 96351"/>
                <a:gd name="connsiteY1" fmla="*/ 117795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17794">
                  <a:moveTo>
                    <a:pt x="96352" y="0"/>
                  </a:moveTo>
                  <a:lnTo>
                    <a:pt x="0" y="11779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1" name="Freeform: Shape 1130">
              <a:extLst>
                <a:ext uri="{FF2B5EF4-FFF2-40B4-BE49-F238E27FC236}">
                  <a16:creationId xmlns:a16="http://schemas.microsoft.com/office/drawing/2014/main" id="{7754B734-6FA0-4F98-9DF2-743CC8D78323}"/>
                </a:ext>
              </a:extLst>
            </p:cNvPr>
            <p:cNvSpPr/>
            <p:nvPr/>
          </p:nvSpPr>
          <p:spPr>
            <a:xfrm>
              <a:off x="4320523" y="1696504"/>
              <a:ext cx="91060" cy="117794"/>
            </a:xfrm>
            <a:custGeom>
              <a:avLst/>
              <a:gdLst>
                <a:gd name="connsiteX0" fmla="*/ 91061 w 91060"/>
                <a:gd name="connsiteY0" fmla="*/ 0 h 117794"/>
                <a:gd name="connsiteX1" fmla="*/ 0 w 91060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794">
                  <a:moveTo>
                    <a:pt x="91061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2" name="Freeform: Shape 1131">
              <a:extLst>
                <a:ext uri="{FF2B5EF4-FFF2-40B4-BE49-F238E27FC236}">
                  <a16:creationId xmlns:a16="http://schemas.microsoft.com/office/drawing/2014/main" id="{024FFEC8-CB42-48FF-A0C3-6E2BD31773FB}"/>
                </a:ext>
              </a:extLst>
            </p:cNvPr>
            <p:cNvSpPr/>
            <p:nvPr/>
          </p:nvSpPr>
          <p:spPr>
            <a:xfrm>
              <a:off x="4777777" y="2389069"/>
              <a:ext cx="112225" cy="106934"/>
            </a:xfrm>
            <a:custGeom>
              <a:avLst/>
              <a:gdLst>
                <a:gd name="connsiteX0" fmla="*/ 112225 w 112225"/>
                <a:gd name="connsiteY0" fmla="*/ 0 h 106934"/>
                <a:gd name="connsiteX1" fmla="*/ 0 w 112225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6934">
                  <a:moveTo>
                    <a:pt x="11222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3" name="Freeform: Shape 1132">
              <a:extLst>
                <a:ext uri="{FF2B5EF4-FFF2-40B4-BE49-F238E27FC236}">
                  <a16:creationId xmlns:a16="http://schemas.microsoft.com/office/drawing/2014/main" id="{BF82D167-3D5F-4CA4-B0BC-2C409FAEEC8E}"/>
                </a:ext>
              </a:extLst>
            </p:cNvPr>
            <p:cNvSpPr/>
            <p:nvPr/>
          </p:nvSpPr>
          <p:spPr>
            <a:xfrm>
              <a:off x="6373711" y="3086646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4" name="Freeform: Shape 1133">
              <a:extLst>
                <a:ext uri="{FF2B5EF4-FFF2-40B4-BE49-F238E27FC236}">
                  <a16:creationId xmlns:a16="http://schemas.microsoft.com/office/drawing/2014/main" id="{C58362F8-553B-4022-8EFC-A8AE02C4C339}"/>
                </a:ext>
              </a:extLst>
            </p:cNvPr>
            <p:cNvSpPr/>
            <p:nvPr/>
          </p:nvSpPr>
          <p:spPr>
            <a:xfrm>
              <a:off x="2954608" y="5562280"/>
              <a:ext cx="114731" cy="82985"/>
            </a:xfrm>
            <a:custGeom>
              <a:avLst/>
              <a:gdLst>
                <a:gd name="connsiteX0" fmla="*/ 114731 w 114731"/>
                <a:gd name="connsiteY0" fmla="*/ 0 h 82985"/>
                <a:gd name="connsiteX1" fmla="*/ 0 w 114731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82985">
                  <a:moveTo>
                    <a:pt x="11473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5" name="Freeform: Shape 1134">
              <a:extLst>
                <a:ext uri="{FF2B5EF4-FFF2-40B4-BE49-F238E27FC236}">
                  <a16:creationId xmlns:a16="http://schemas.microsoft.com/office/drawing/2014/main" id="{A0C0A8D2-D2EA-45BA-A4A6-4991DE49001B}"/>
                </a:ext>
              </a:extLst>
            </p:cNvPr>
            <p:cNvSpPr/>
            <p:nvPr/>
          </p:nvSpPr>
          <p:spPr>
            <a:xfrm>
              <a:off x="5464772" y="1739389"/>
              <a:ext cx="117516" cy="74909"/>
            </a:xfrm>
            <a:custGeom>
              <a:avLst/>
              <a:gdLst>
                <a:gd name="connsiteX0" fmla="*/ 117516 w 117516"/>
                <a:gd name="connsiteY0" fmla="*/ 0 h 74909"/>
                <a:gd name="connsiteX1" fmla="*/ 0 w 117516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74909">
                  <a:moveTo>
                    <a:pt x="117516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6" name="Freeform: Shape 1135">
              <a:extLst>
                <a:ext uri="{FF2B5EF4-FFF2-40B4-BE49-F238E27FC236}">
                  <a16:creationId xmlns:a16="http://schemas.microsoft.com/office/drawing/2014/main" id="{19B09932-DEFB-452F-B520-9F5563E0F3D4}"/>
                </a:ext>
              </a:extLst>
            </p:cNvPr>
            <p:cNvSpPr/>
            <p:nvPr/>
          </p:nvSpPr>
          <p:spPr>
            <a:xfrm>
              <a:off x="6603731" y="2637746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7" name="Freeform: Shape 1136">
              <a:extLst>
                <a:ext uri="{FF2B5EF4-FFF2-40B4-BE49-F238E27FC236}">
                  <a16:creationId xmlns:a16="http://schemas.microsoft.com/office/drawing/2014/main" id="{F3B9D4BB-8414-4524-8960-5C8B7D8078FF}"/>
                </a:ext>
              </a:extLst>
            </p:cNvPr>
            <p:cNvSpPr/>
            <p:nvPr/>
          </p:nvSpPr>
          <p:spPr>
            <a:xfrm>
              <a:off x="5232247" y="2169910"/>
              <a:ext cx="117516" cy="96073"/>
            </a:xfrm>
            <a:custGeom>
              <a:avLst/>
              <a:gdLst>
                <a:gd name="connsiteX0" fmla="*/ 117516 w 117516"/>
                <a:gd name="connsiteY0" fmla="*/ 0 h 96073"/>
                <a:gd name="connsiteX1" fmla="*/ 0 w 117516"/>
                <a:gd name="connsiteY1" fmla="*/ 96074 h 96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96073">
                  <a:moveTo>
                    <a:pt x="117516" y="0"/>
                  </a:moveTo>
                  <a:lnTo>
                    <a:pt x="0" y="960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8" name="Freeform: Shape 1137">
              <a:extLst>
                <a:ext uri="{FF2B5EF4-FFF2-40B4-BE49-F238E27FC236}">
                  <a16:creationId xmlns:a16="http://schemas.microsoft.com/office/drawing/2014/main" id="{0CB76C6A-0A4A-435A-9A8F-8B847606C2FE}"/>
                </a:ext>
              </a:extLst>
            </p:cNvPr>
            <p:cNvSpPr/>
            <p:nvPr/>
          </p:nvSpPr>
          <p:spPr>
            <a:xfrm>
              <a:off x="8881369" y="2827387"/>
              <a:ext cx="104149" cy="115009"/>
            </a:xfrm>
            <a:custGeom>
              <a:avLst/>
              <a:gdLst>
                <a:gd name="connsiteX0" fmla="*/ 104149 w 104149"/>
                <a:gd name="connsiteY0" fmla="*/ 0 h 115009"/>
                <a:gd name="connsiteX1" fmla="*/ 0 w 104149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15009">
                  <a:moveTo>
                    <a:pt x="104149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9" name="Freeform: Shape 1138">
              <a:extLst>
                <a:ext uri="{FF2B5EF4-FFF2-40B4-BE49-F238E27FC236}">
                  <a16:creationId xmlns:a16="http://schemas.microsoft.com/office/drawing/2014/main" id="{A6D84700-1B24-41EE-9B69-7C644AF14637}"/>
                </a:ext>
              </a:extLst>
            </p:cNvPr>
            <p:cNvSpPr/>
            <p:nvPr/>
          </p:nvSpPr>
          <p:spPr>
            <a:xfrm>
              <a:off x="6830966" y="2851614"/>
              <a:ext cx="114731" cy="93567"/>
            </a:xfrm>
            <a:custGeom>
              <a:avLst/>
              <a:gdLst>
                <a:gd name="connsiteX0" fmla="*/ 114731 w 114731"/>
                <a:gd name="connsiteY0" fmla="*/ 0 h 93567"/>
                <a:gd name="connsiteX1" fmla="*/ 0 w 114731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93567">
                  <a:moveTo>
                    <a:pt x="114731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0" name="Freeform: Shape 1139">
              <a:extLst>
                <a:ext uri="{FF2B5EF4-FFF2-40B4-BE49-F238E27FC236}">
                  <a16:creationId xmlns:a16="http://schemas.microsoft.com/office/drawing/2014/main" id="{8B1FBD12-2595-4773-9995-24B456C6521B}"/>
                </a:ext>
              </a:extLst>
            </p:cNvPr>
            <p:cNvSpPr/>
            <p:nvPr/>
          </p:nvSpPr>
          <p:spPr>
            <a:xfrm>
              <a:off x="2500139" y="4516889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1" name="Freeform: Shape 1140">
              <a:extLst>
                <a:ext uri="{FF2B5EF4-FFF2-40B4-BE49-F238E27FC236}">
                  <a16:creationId xmlns:a16="http://schemas.microsoft.com/office/drawing/2014/main" id="{7A896CB8-6803-4A0B-8417-A2960CBD00F7}"/>
                </a:ext>
              </a:extLst>
            </p:cNvPr>
            <p:cNvSpPr/>
            <p:nvPr/>
          </p:nvSpPr>
          <p:spPr>
            <a:xfrm>
              <a:off x="4318017" y="2150974"/>
              <a:ext cx="98858" cy="115009"/>
            </a:xfrm>
            <a:custGeom>
              <a:avLst/>
              <a:gdLst>
                <a:gd name="connsiteX0" fmla="*/ 98858 w 98858"/>
                <a:gd name="connsiteY0" fmla="*/ 0 h 115009"/>
                <a:gd name="connsiteX1" fmla="*/ 0 w 98858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15009">
                  <a:moveTo>
                    <a:pt x="98858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2" name="Freeform: Shape 1141">
              <a:extLst>
                <a:ext uri="{FF2B5EF4-FFF2-40B4-BE49-F238E27FC236}">
                  <a16:creationId xmlns:a16="http://schemas.microsoft.com/office/drawing/2014/main" id="{0D0794A3-D380-4259-9C05-1FCDF87DD894}"/>
                </a:ext>
              </a:extLst>
            </p:cNvPr>
            <p:cNvSpPr/>
            <p:nvPr/>
          </p:nvSpPr>
          <p:spPr>
            <a:xfrm>
              <a:off x="5461988" y="2632177"/>
              <a:ext cx="115009" cy="88276"/>
            </a:xfrm>
            <a:custGeom>
              <a:avLst/>
              <a:gdLst>
                <a:gd name="connsiteX0" fmla="*/ 115010 w 115009"/>
                <a:gd name="connsiteY0" fmla="*/ 0 h 88276"/>
                <a:gd name="connsiteX1" fmla="*/ 0 w 115009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8276">
                  <a:moveTo>
                    <a:pt x="115010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3" name="Freeform: Shape 1142">
              <a:extLst>
                <a:ext uri="{FF2B5EF4-FFF2-40B4-BE49-F238E27FC236}">
                  <a16:creationId xmlns:a16="http://schemas.microsoft.com/office/drawing/2014/main" id="{A00475E3-AD20-4A57-9D4A-5490635B746B}"/>
                </a:ext>
              </a:extLst>
            </p:cNvPr>
            <p:cNvSpPr/>
            <p:nvPr/>
          </p:nvSpPr>
          <p:spPr>
            <a:xfrm>
              <a:off x="6146477" y="1143177"/>
              <a:ext cx="117516" cy="5291"/>
            </a:xfrm>
            <a:custGeom>
              <a:avLst/>
              <a:gdLst>
                <a:gd name="connsiteX0" fmla="*/ 117516 w 117516"/>
                <a:gd name="connsiteY0" fmla="*/ 5291 h 5291"/>
                <a:gd name="connsiteX1" fmla="*/ 0 w 117516"/>
                <a:gd name="connsiteY1" fmla="*/ 0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291">
                  <a:moveTo>
                    <a:pt x="117516" y="529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4" name="Freeform: Shape 1143">
              <a:extLst>
                <a:ext uri="{FF2B5EF4-FFF2-40B4-BE49-F238E27FC236}">
                  <a16:creationId xmlns:a16="http://schemas.microsoft.com/office/drawing/2014/main" id="{CD42EA51-4FB3-4179-84CA-4F47E2C385F1}"/>
                </a:ext>
              </a:extLst>
            </p:cNvPr>
            <p:cNvSpPr/>
            <p:nvPr/>
          </p:nvSpPr>
          <p:spPr>
            <a:xfrm>
              <a:off x="7060707" y="2629671"/>
              <a:ext cx="117794" cy="85491"/>
            </a:xfrm>
            <a:custGeom>
              <a:avLst/>
              <a:gdLst>
                <a:gd name="connsiteX0" fmla="*/ 117795 w 117794"/>
                <a:gd name="connsiteY0" fmla="*/ 0 h 85491"/>
                <a:gd name="connsiteX1" fmla="*/ 0 w 117794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5491">
                  <a:moveTo>
                    <a:pt x="117795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5" name="Freeform: Shape 1144">
              <a:extLst>
                <a:ext uri="{FF2B5EF4-FFF2-40B4-BE49-F238E27FC236}">
                  <a16:creationId xmlns:a16="http://schemas.microsoft.com/office/drawing/2014/main" id="{F1ECEA6C-BFD0-42A7-9211-2D732F4B9034}"/>
                </a:ext>
              </a:extLst>
            </p:cNvPr>
            <p:cNvSpPr/>
            <p:nvPr/>
          </p:nvSpPr>
          <p:spPr>
            <a:xfrm>
              <a:off x="4780283" y="2862196"/>
              <a:ext cx="117794" cy="80200"/>
            </a:xfrm>
            <a:custGeom>
              <a:avLst/>
              <a:gdLst>
                <a:gd name="connsiteX0" fmla="*/ 117795 w 117794"/>
                <a:gd name="connsiteY0" fmla="*/ 0 h 80200"/>
                <a:gd name="connsiteX1" fmla="*/ 0 w 117794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0200">
                  <a:moveTo>
                    <a:pt x="117795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6" name="Freeform: Shape 1145">
              <a:extLst>
                <a:ext uri="{FF2B5EF4-FFF2-40B4-BE49-F238E27FC236}">
                  <a16:creationId xmlns:a16="http://schemas.microsoft.com/office/drawing/2014/main" id="{7492A0C6-BEAE-46B4-8097-87C979D7CD19}"/>
                </a:ext>
              </a:extLst>
            </p:cNvPr>
            <p:cNvSpPr/>
            <p:nvPr/>
          </p:nvSpPr>
          <p:spPr>
            <a:xfrm>
              <a:off x="8204956" y="1806223"/>
              <a:ext cx="117516" cy="13366"/>
            </a:xfrm>
            <a:custGeom>
              <a:avLst/>
              <a:gdLst>
                <a:gd name="connsiteX0" fmla="*/ 117516 w 117516"/>
                <a:gd name="connsiteY0" fmla="*/ 0 h 13366"/>
                <a:gd name="connsiteX1" fmla="*/ 0 w 117516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13366">
                  <a:moveTo>
                    <a:pt x="117516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7" name="Freeform: Shape 1146">
              <a:extLst>
                <a:ext uri="{FF2B5EF4-FFF2-40B4-BE49-F238E27FC236}">
                  <a16:creationId xmlns:a16="http://schemas.microsoft.com/office/drawing/2014/main" id="{79CE8BBD-BAC2-4DCD-9752-6057544D1270}"/>
                </a:ext>
              </a:extLst>
            </p:cNvPr>
            <p:cNvSpPr/>
            <p:nvPr/>
          </p:nvSpPr>
          <p:spPr>
            <a:xfrm>
              <a:off x="5922027" y="1135101"/>
              <a:ext cx="117516" cy="5569"/>
            </a:xfrm>
            <a:custGeom>
              <a:avLst/>
              <a:gdLst>
                <a:gd name="connsiteX0" fmla="*/ 117516 w 117516"/>
                <a:gd name="connsiteY0" fmla="*/ 0 h 5569"/>
                <a:gd name="connsiteX1" fmla="*/ 0 w 117516"/>
                <a:gd name="connsiteY1" fmla="*/ 5569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569">
                  <a:moveTo>
                    <a:pt x="117516" y="0"/>
                  </a:moveTo>
                  <a:lnTo>
                    <a:pt x="0" y="556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8" name="Freeform: Shape 1147">
              <a:extLst>
                <a:ext uri="{FF2B5EF4-FFF2-40B4-BE49-F238E27FC236}">
                  <a16:creationId xmlns:a16="http://schemas.microsoft.com/office/drawing/2014/main" id="{5CE8A8CB-E1EA-4792-B6D4-351A6D321EDB}"/>
                </a:ext>
              </a:extLst>
            </p:cNvPr>
            <p:cNvSpPr/>
            <p:nvPr/>
          </p:nvSpPr>
          <p:spPr>
            <a:xfrm>
              <a:off x="5010303" y="1076343"/>
              <a:ext cx="117516" cy="64327"/>
            </a:xfrm>
            <a:custGeom>
              <a:avLst/>
              <a:gdLst>
                <a:gd name="connsiteX0" fmla="*/ 117516 w 117516"/>
                <a:gd name="connsiteY0" fmla="*/ 0 h 64327"/>
                <a:gd name="connsiteX1" fmla="*/ 0 w 117516"/>
                <a:gd name="connsiteY1" fmla="*/ 64327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4327">
                  <a:moveTo>
                    <a:pt x="117516" y="0"/>
                  </a:moveTo>
                  <a:lnTo>
                    <a:pt x="0" y="643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9" name="Freeform: Shape 1148">
              <a:extLst>
                <a:ext uri="{FF2B5EF4-FFF2-40B4-BE49-F238E27FC236}">
                  <a16:creationId xmlns:a16="http://schemas.microsoft.com/office/drawing/2014/main" id="{9FEF2939-F2D3-4F92-A4EB-A6F2DD9B7498}"/>
                </a:ext>
              </a:extLst>
            </p:cNvPr>
            <p:cNvSpPr/>
            <p:nvPr/>
          </p:nvSpPr>
          <p:spPr>
            <a:xfrm>
              <a:off x="2727373" y="5589014"/>
              <a:ext cx="117516" cy="53467"/>
            </a:xfrm>
            <a:custGeom>
              <a:avLst/>
              <a:gdLst>
                <a:gd name="connsiteX0" fmla="*/ 117516 w 117516"/>
                <a:gd name="connsiteY0" fmla="*/ 0 h 53467"/>
                <a:gd name="connsiteX1" fmla="*/ 0 w 117516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3467">
                  <a:moveTo>
                    <a:pt x="117516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0" name="Freeform: Shape 1149">
              <a:extLst>
                <a:ext uri="{FF2B5EF4-FFF2-40B4-BE49-F238E27FC236}">
                  <a16:creationId xmlns:a16="http://schemas.microsoft.com/office/drawing/2014/main" id="{9A9452F1-9E71-4DE9-A345-799E339958F9}"/>
                </a:ext>
              </a:extLst>
            </p:cNvPr>
            <p:cNvSpPr/>
            <p:nvPr/>
          </p:nvSpPr>
          <p:spPr>
            <a:xfrm>
              <a:off x="8654135" y="2407727"/>
              <a:ext cx="115009" cy="88276"/>
            </a:xfrm>
            <a:custGeom>
              <a:avLst/>
              <a:gdLst>
                <a:gd name="connsiteX0" fmla="*/ 115010 w 115009"/>
                <a:gd name="connsiteY0" fmla="*/ 0 h 88276"/>
                <a:gd name="connsiteX1" fmla="*/ 0 w 115009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8276">
                  <a:moveTo>
                    <a:pt x="115010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1" name="Freeform: Shape 1150">
              <a:extLst>
                <a:ext uri="{FF2B5EF4-FFF2-40B4-BE49-F238E27FC236}">
                  <a16:creationId xmlns:a16="http://schemas.microsoft.com/office/drawing/2014/main" id="{53ED5A87-1503-4B55-8E62-9C5F99DBC74C}"/>
                </a:ext>
              </a:extLst>
            </p:cNvPr>
            <p:cNvSpPr/>
            <p:nvPr/>
          </p:nvSpPr>
          <p:spPr>
            <a:xfrm>
              <a:off x="674185" y="1060470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2" name="Freeform: Shape 1151">
              <a:extLst>
                <a:ext uri="{FF2B5EF4-FFF2-40B4-BE49-F238E27FC236}">
                  <a16:creationId xmlns:a16="http://schemas.microsoft.com/office/drawing/2014/main" id="{77531ED0-0942-406D-AB0A-7A1420202E24}"/>
                </a:ext>
              </a:extLst>
            </p:cNvPr>
            <p:cNvSpPr/>
            <p:nvPr/>
          </p:nvSpPr>
          <p:spPr>
            <a:xfrm>
              <a:off x="6833472" y="4220314"/>
              <a:ext cx="117794" cy="69340"/>
            </a:xfrm>
            <a:custGeom>
              <a:avLst/>
              <a:gdLst>
                <a:gd name="connsiteX0" fmla="*/ 117794 w 117794"/>
                <a:gd name="connsiteY0" fmla="*/ 0 h 69340"/>
                <a:gd name="connsiteX1" fmla="*/ 0 w 117794"/>
                <a:gd name="connsiteY1" fmla="*/ 69340 h 6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69340">
                  <a:moveTo>
                    <a:pt x="117794" y="0"/>
                  </a:moveTo>
                  <a:lnTo>
                    <a:pt x="0" y="693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3" name="Freeform: Shape 1152">
              <a:extLst>
                <a:ext uri="{FF2B5EF4-FFF2-40B4-BE49-F238E27FC236}">
                  <a16:creationId xmlns:a16="http://schemas.microsoft.com/office/drawing/2014/main" id="{13C51673-338D-45B6-AA6C-8E4FFE09B4BE}"/>
                </a:ext>
              </a:extLst>
            </p:cNvPr>
            <p:cNvSpPr/>
            <p:nvPr/>
          </p:nvSpPr>
          <p:spPr>
            <a:xfrm>
              <a:off x="449456" y="643316"/>
              <a:ext cx="117794" cy="48175"/>
            </a:xfrm>
            <a:custGeom>
              <a:avLst/>
              <a:gdLst>
                <a:gd name="connsiteX0" fmla="*/ 117794 w 117794"/>
                <a:gd name="connsiteY0" fmla="*/ 0 h 48175"/>
                <a:gd name="connsiteX1" fmla="*/ 0 w 117794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48175">
                  <a:moveTo>
                    <a:pt x="117794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4" name="Freeform: Shape 1153">
              <a:extLst>
                <a:ext uri="{FF2B5EF4-FFF2-40B4-BE49-F238E27FC236}">
                  <a16:creationId xmlns:a16="http://schemas.microsoft.com/office/drawing/2014/main" id="{6D388961-3003-4F2D-8C43-342DFC0283DC}"/>
                </a:ext>
              </a:extLst>
            </p:cNvPr>
            <p:cNvSpPr/>
            <p:nvPr/>
          </p:nvSpPr>
          <p:spPr>
            <a:xfrm>
              <a:off x="8883876" y="1816805"/>
              <a:ext cx="117794" cy="5569"/>
            </a:xfrm>
            <a:custGeom>
              <a:avLst/>
              <a:gdLst>
                <a:gd name="connsiteX0" fmla="*/ 0 w 117794"/>
                <a:gd name="connsiteY0" fmla="*/ 0 h 5569"/>
                <a:gd name="connsiteX1" fmla="*/ 117794 w 117794"/>
                <a:gd name="connsiteY1" fmla="*/ 557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5569">
                  <a:moveTo>
                    <a:pt x="0" y="0"/>
                  </a:moveTo>
                  <a:lnTo>
                    <a:pt x="117794" y="55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5" name="Freeform: Shape 1154">
              <a:extLst>
                <a:ext uri="{FF2B5EF4-FFF2-40B4-BE49-F238E27FC236}">
                  <a16:creationId xmlns:a16="http://schemas.microsoft.com/office/drawing/2014/main" id="{3E673B3C-4EF2-4BBA-BBEF-0A69E4859D4F}"/>
                </a:ext>
              </a:extLst>
            </p:cNvPr>
            <p:cNvSpPr/>
            <p:nvPr/>
          </p:nvSpPr>
          <p:spPr>
            <a:xfrm>
              <a:off x="6146477" y="2418309"/>
              <a:ext cx="115009" cy="77694"/>
            </a:xfrm>
            <a:custGeom>
              <a:avLst/>
              <a:gdLst>
                <a:gd name="connsiteX0" fmla="*/ 115010 w 115009"/>
                <a:gd name="connsiteY0" fmla="*/ 0 h 77694"/>
                <a:gd name="connsiteX1" fmla="*/ 0 w 115009"/>
                <a:gd name="connsiteY1" fmla="*/ 77694 h 77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77694">
                  <a:moveTo>
                    <a:pt x="115010" y="0"/>
                  </a:moveTo>
                  <a:lnTo>
                    <a:pt x="0" y="776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6" name="Freeform: Shape 1155">
              <a:extLst>
                <a:ext uri="{FF2B5EF4-FFF2-40B4-BE49-F238E27FC236}">
                  <a16:creationId xmlns:a16="http://schemas.microsoft.com/office/drawing/2014/main" id="{C351DF53-D1E3-47BE-976E-7F66CD7F5A07}"/>
                </a:ext>
              </a:extLst>
            </p:cNvPr>
            <p:cNvSpPr/>
            <p:nvPr/>
          </p:nvSpPr>
          <p:spPr>
            <a:xfrm>
              <a:off x="2040100" y="5645265"/>
              <a:ext cx="117794" cy="7797"/>
            </a:xfrm>
            <a:custGeom>
              <a:avLst/>
              <a:gdLst>
                <a:gd name="connsiteX0" fmla="*/ 117795 w 117794"/>
                <a:gd name="connsiteY0" fmla="*/ 7797 h 7797"/>
                <a:gd name="connsiteX1" fmla="*/ 0 w 117794"/>
                <a:gd name="connsiteY1" fmla="*/ 0 h 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797">
                  <a:moveTo>
                    <a:pt x="117795" y="779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7" name="Freeform: Shape 1156">
              <a:extLst>
                <a:ext uri="{FF2B5EF4-FFF2-40B4-BE49-F238E27FC236}">
                  <a16:creationId xmlns:a16="http://schemas.microsoft.com/office/drawing/2014/main" id="{FF19CF01-7891-4713-88D6-F94D1F725D12}"/>
                </a:ext>
              </a:extLst>
            </p:cNvPr>
            <p:cNvSpPr/>
            <p:nvPr/>
          </p:nvSpPr>
          <p:spPr>
            <a:xfrm>
              <a:off x="7290726" y="5642481"/>
              <a:ext cx="117516" cy="2784"/>
            </a:xfrm>
            <a:custGeom>
              <a:avLst/>
              <a:gdLst>
                <a:gd name="connsiteX0" fmla="*/ 117516 w 117516"/>
                <a:gd name="connsiteY0" fmla="*/ 2785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8" name="Freeform: Shape 1157">
              <a:extLst>
                <a:ext uri="{FF2B5EF4-FFF2-40B4-BE49-F238E27FC236}">
                  <a16:creationId xmlns:a16="http://schemas.microsoft.com/office/drawing/2014/main" id="{35781091-096E-4EF7-B781-3FDD12F372EA}"/>
                </a:ext>
              </a:extLst>
            </p:cNvPr>
            <p:cNvSpPr/>
            <p:nvPr/>
          </p:nvSpPr>
          <p:spPr>
            <a:xfrm>
              <a:off x="7287941" y="2418309"/>
              <a:ext cx="117794" cy="74909"/>
            </a:xfrm>
            <a:custGeom>
              <a:avLst/>
              <a:gdLst>
                <a:gd name="connsiteX0" fmla="*/ 117794 w 117794"/>
                <a:gd name="connsiteY0" fmla="*/ 0 h 74909"/>
                <a:gd name="connsiteX1" fmla="*/ 0 w 117794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4909">
                  <a:moveTo>
                    <a:pt x="117794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9" name="Freeform: Shape 1158">
              <a:extLst>
                <a:ext uri="{FF2B5EF4-FFF2-40B4-BE49-F238E27FC236}">
                  <a16:creationId xmlns:a16="http://schemas.microsoft.com/office/drawing/2014/main" id="{59E68E48-5F98-459A-B908-9BE1122E78AF}"/>
                </a:ext>
              </a:extLst>
            </p:cNvPr>
            <p:cNvSpPr/>
            <p:nvPr/>
          </p:nvSpPr>
          <p:spPr>
            <a:xfrm>
              <a:off x="7515176" y="5645265"/>
              <a:ext cx="117794" cy="5291"/>
            </a:xfrm>
            <a:custGeom>
              <a:avLst/>
              <a:gdLst>
                <a:gd name="connsiteX0" fmla="*/ 117794 w 117794"/>
                <a:gd name="connsiteY0" fmla="*/ 5291 h 5291"/>
                <a:gd name="connsiteX1" fmla="*/ 0 w 117794"/>
                <a:gd name="connsiteY1" fmla="*/ 0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5291">
                  <a:moveTo>
                    <a:pt x="117794" y="529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0" name="Freeform: Shape 1159">
              <a:extLst>
                <a:ext uri="{FF2B5EF4-FFF2-40B4-BE49-F238E27FC236}">
                  <a16:creationId xmlns:a16="http://schemas.microsoft.com/office/drawing/2014/main" id="{0C5FA85A-92A6-43C2-8E4B-76EF342368F5}"/>
                </a:ext>
              </a:extLst>
            </p:cNvPr>
            <p:cNvSpPr/>
            <p:nvPr/>
          </p:nvSpPr>
          <p:spPr>
            <a:xfrm>
              <a:off x="7745196" y="5642481"/>
              <a:ext cx="117516" cy="2784"/>
            </a:xfrm>
            <a:custGeom>
              <a:avLst/>
              <a:gdLst>
                <a:gd name="connsiteX0" fmla="*/ 117516 w 117516"/>
                <a:gd name="connsiteY0" fmla="*/ 2785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1" name="Freeform: Shape 1160">
              <a:extLst>
                <a:ext uri="{FF2B5EF4-FFF2-40B4-BE49-F238E27FC236}">
                  <a16:creationId xmlns:a16="http://schemas.microsoft.com/office/drawing/2014/main" id="{A928F5F9-D510-4E59-9F72-C579849EFDC7}"/>
                </a:ext>
              </a:extLst>
            </p:cNvPr>
            <p:cNvSpPr/>
            <p:nvPr/>
          </p:nvSpPr>
          <p:spPr>
            <a:xfrm>
              <a:off x="446950" y="1819590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2" name="Freeform: Shape 1161">
              <a:extLst>
                <a:ext uri="{FF2B5EF4-FFF2-40B4-BE49-F238E27FC236}">
                  <a16:creationId xmlns:a16="http://schemas.microsoft.com/office/drawing/2014/main" id="{D8CE8D1E-8861-4D5B-AC0B-91A5A4D4ACE0}"/>
                </a:ext>
              </a:extLst>
            </p:cNvPr>
            <p:cNvSpPr/>
            <p:nvPr/>
          </p:nvSpPr>
          <p:spPr>
            <a:xfrm>
              <a:off x="8878585" y="4409955"/>
              <a:ext cx="112225" cy="106934"/>
            </a:xfrm>
            <a:custGeom>
              <a:avLst/>
              <a:gdLst>
                <a:gd name="connsiteX0" fmla="*/ 112225 w 112225"/>
                <a:gd name="connsiteY0" fmla="*/ 0 h 106934"/>
                <a:gd name="connsiteX1" fmla="*/ 0 w 112225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6934">
                  <a:moveTo>
                    <a:pt x="11222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3" name="Freeform: Shape 1162">
              <a:extLst>
                <a:ext uri="{FF2B5EF4-FFF2-40B4-BE49-F238E27FC236}">
                  <a16:creationId xmlns:a16="http://schemas.microsoft.com/office/drawing/2014/main" id="{EB644A7A-AA36-4384-BD55-8D77742A475D}"/>
                </a:ext>
              </a:extLst>
            </p:cNvPr>
            <p:cNvSpPr/>
            <p:nvPr/>
          </p:nvSpPr>
          <p:spPr>
            <a:xfrm>
              <a:off x="5461988" y="693998"/>
              <a:ext cx="117794" cy="2784"/>
            </a:xfrm>
            <a:custGeom>
              <a:avLst/>
              <a:gdLst>
                <a:gd name="connsiteX0" fmla="*/ 117794 w 117794"/>
                <a:gd name="connsiteY0" fmla="*/ 2785 h 2784"/>
                <a:gd name="connsiteX1" fmla="*/ 0 w 117794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4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4" name="Freeform: Shape 1163">
              <a:extLst>
                <a:ext uri="{FF2B5EF4-FFF2-40B4-BE49-F238E27FC236}">
                  <a16:creationId xmlns:a16="http://schemas.microsoft.com/office/drawing/2014/main" id="{9F265DA4-CE1F-4BD8-907B-CA42A170CEEA}"/>
                </a:ext>
              </a:extLst>
            </p:cNvPr>
            <p:cNvSpPr/>
            <p:nvPr/>
          </p:nvSpPr>
          <p:spPr>
            <a:xfrm>
              <a:off x="8199665" y="5642481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5" name="Freeform: Shape 1164">
              <a:extLst>
                <a:ext uri="{FF2B5EF4-FFF2-40B4-BE49-F238E27FC236}">
                  <a16:creationId xmlns:a16="http://schemas.microsoft.com/office/drawing/2014/main" id="{42527D5F-155B-452F-B688-44605A8F5432}"/>
                </a:ext>
              </a:extLst>
            </p:cNvPr>
            <p:cNvSpPr/>
            <p:nvPr/>
          </p:nvSpPr>
          <p:spPr>
            <a:xfrm>
              <a:off x="4550542" y="2862196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6" name="Freeform: Shape 1165">
              <a:extLst>
                <a:ext uri="{FF2B5EF4-FFF2-40B4-BE49-F238E27FC236}">
                  <a16:creationId xmlns:a16="http://schemas.microsoft.com/office/drawing/2014/main" id="{FD516A76-641F-4429-830B-9A44E305DE09}"/>
                </a:ext>
              </a:extLst>
            </p:cNvPr>
            <p:cNvSpPr/>
            <p:nvPr/>
          </p:nvSpPr>
          <p:spPr>
            <a:xfrm>
              <a:off x="8429406" y="5642481"/>
              <a:ext cx="117794" cy="2784"/>
            </a:xfrm>
            <a:custGeom>
              <a:avLst/>
              <a:gdLst>
                <a:gd name="connsiteX0" fmla="*/ 117795 w 117794"/>
                <a:gd name="connsiteY0" fmla="*/ 2785 h 2784"/>
                <a:gd name="connsiteX1" fmla="*/ 0 w 117794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5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7" name="Freeform: Shape 1166">
              <a:extLst>
                <a:ext uri="{FF2B5EF4-FFF2-40B4-BE49-F238E27FC236}">
                  <a16:creationId xmlns:a16="http://schemas.microsoft.com/office/drawing/2014/main" id="{D5149C08-D33E-4EA4-817F-FC92142A8552}"/>
                </a:ext>
              </a:extLst>
            </p:cNvPr>
            <p:cNvSpPr/>
            <p:nvPr/>
          </p:nvSpPr>
          <p:spPr>
            <a:xfrm>
              <a:off x="9111110" y="3722959"/>
              <a:ext cx="91060" cy="117794"/>
            </a:xfrm>
            <a:custGeom>
              <a:avLst/>
              <a:gdLst>
                <a:gd name="connsiteX0" fmla="*/ 91061 w 91060"/>
                <a:gd name="connsiteY0" fmla="*/ 0 h 117794"/>
                <a:gd name="connsiteX1" fmla="*/ 0 w 91060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794">
                  <a:moveTo>
                    <a:pt x="91061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8" name="Freeform: Shape 1167">
              <a:extLst>
                <a:ext uri="{FF2B5EF4-FFF2-40B4-BE49-F238E27FC236}">
                  <a16:creationId xmlns:a16="http://schemas.microsoft.com/office/drawing/2014/main" id="{D0C611EE-D440-4CEF-A8CB-30C22B77E6CE}"/>
                </a:ext>
              </a:extLst>
            </p:cNvPr>
            <p:cNvSpPr/>
            <p:nvPr/>
          </p:nvSpPr>
          <p:spPr>
            <a:xfrm>
              <a:off x="5234753" y="2862196"/>
              <a:ext cx="117794" cy="80200"/>
            </a:xfrm>
            <a:custGeom>
              <a:avLst/>
              <a:gdLst>
                <a:gd name="connsiteX0" fmla="*/ 117794 w 117794"/>
                <a:gd name="connsiteY0" fmla="*/ 0 h 80200"/>
                <a:gd name="connsiteX1" fmla="*/ 0 w 117794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0200">
                  <a:moveTo>
                    <a:pt x="117794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9" name="Freeform: Shape 1168">
              <a:extLst>
                <a:ext uri="{FF2B5EF4-FFF2-40B4-BE49-F238E27FC236}">
                  <a16:creationId xmlns:a16="http://schemas.microsoft.com/office/drawing/2014/main" id="{FDAC19DB-D60E-44E7-A959-7E4CCBF50BB1}"/>
                </a:ext>
              </a:extLst>
            </p:cNvPr>
            <p:cNvSpPr/>
            <p:nvPr/>
          </p:nvSpPr>
          <p:spPr>
            <a:xfrm>
              <a:off x="5692007" y="915942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0" name="Freeform: Shape 1169">
              <a:extLst>
                <a:ext uri="{FF2B5EF4-FFF2-40B4-BE49-F238E27FC236}">
                  <a16:creationId xmlns:a16="http://schemas.microsoft.com/office/drawing/2014/main" id="{0AB9A56B-F3BA-4444-B453-A4FE3E2CCA7A}"/>
                </a:ext>
              </a:extLst>
            </p:cNvPr>
            <p:cNvSpPr/>
            <p:nvPr/>
          </p:nvSpPr>
          <p:spPr>
            <a:xfrm>
              <a:off x="3638819" y="4426106"/>
              <a:ext cx="117794" cy="90782"/>
            </a:xfrm>
            <a:custGeom>
              <a:avLst/>
              <a:gdLst>
                <a:gd name="connsiteX0" fmla="*/ 117794 w 117794"/>
                <a:gd name="connsiteY0" fmla="*/ 0 h 90782"/>
                <a:gd name="connsiteX1" fmla="*/ 0 w 117794"/>
                <a:gd name="connsiteY1" fmla="*/ 90783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90782">
                  <a:moveTo>
                    <a:pt x="117794" y="0"/>
                  </a:moveTo>
                  <a:lnTo>
                    <a:pt x="0" y="907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1" name="Freeform: Shape 1170">
              <a:extLst>
                <a:ext uri="{FF2B5EF4-FFF2-40B4-BE49-F238E27FC236}">
                  <a16:creationId xmlns:a16="http://schemas.microsoft.com/office/drawing/2014/main" id="{D536B389-CDEA-4700-9918-044C486FBB54}"/>
                </a:ext>
              </a:extLst>
            </p:cNvPr>
            <p:cNvSpPr/>
            <p:nvPr/>
          </p:nvSpPr>
          <p:spPr>
            <a:xfrm>
              <a:off x="5919242" y="2862196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2" name="Freeform: Shape 1171">
              <a:extLst>
                <a:ext uri="{FF2B5EF4-FFF2-40B4-BE49-F238E27FC236}">
                  <a16:creationId xmlns:a16="http://schemas.microsoft.com/office/drawing/2014/main" id="{7FCE196A-5C1C-447D-9852-7355515A0C5C}"/>
                </a:ext>
              </a:extLst>
            </p:cNvPr>
            <p:cNvSpPr/>
            <p:nvPr/>
          </p:nvSpPr>
          <p:spPr>
            <a:xfrm>
              <a:off x="8656641" y="4893943"/>
              <a:ext cx="117794" cy="74909"/>
            </a:xfrm>
            <a:custGeom>
              <a:avLst/>
              <a:gdLst>
                <a:gd name="connsiteX0" fmla="*/ 117794 w 117794"/>
                <a:gd name="connsiteY0" fmla="*/ 0 h 74909"/>
                <a:gd name="connsiteX1" fmla="*/ 0 w 117794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4909">
                  <a:moveTo>
                    <a:pt x="117794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3" name="Freeform: Shape 1172">
              <a:extLst>
                <a:ext uri="{FF2B5EF4-FFF2-40B4-BE49-F238E27FC236}">
                  <a16:creationId xmlns:a16="http://schemas.microsoft.com/office/drawing/2014/main" id="{7137AB2D-3568-48D9-9216-03C8C007B297}"/>
                </a:ext>
              </a:extLst>
            </p:cNvPr>
            <p:cNvSpPr/>
            <p:nvPr/>
          </p:nvSpPr>
          <p:spPr>
            <a:xfrm>
              <a:off x="6373711" y="5332261"/>
              <a:ext cx="117516" cy="85769"/>
            </a:xfrm>
            <a:custGeom>
              <a:avLst/>
              <a:gdLst>
                <a:gd name="connsiteX0" fmla="*/ 117516 w 117516"/>
                <a:gd name="connsiteY0" fmla="*/ 0 h 85769"/>
                <a:gd name="connsiteX1" fmla="*/ 0 w 117516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5769">
                  <a:moveTo>
                    <a:pt x="117516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4" name="Freeform: Shape 1173">
              <a:extLst>
                <a:ext uri="{FF2B5EF4-FFF2-40B4-BE49-F238E27FC236}">
                  <a16:creationId xmlns:a16="http://schemas.microsoft.com/office/drawing/2014/main" id="{CE7C508D-7272-4831-89FF-5E414213B176}"/>
                </a:ext>
              </a:extLst>
            </p:cNvPr>
            <p:cNvSpPr/>
            <p:nvPr/>
          </p:nvSpPr>
          <p:spPr>
            <a:xfrm>
              <a:off x="3181843" y="4883361"/>
              <a:ext cx="117516" cy="85491"/>
            </a:xfrm>
            <a:custGeom>
              <a:avLst/>
              <a:gdLst>
                <a:gd name="connsiteX0" fmla="*/ 117516 w 117516"/>
                <a:gd name="connsiteY0" fmla="*/ 0 h 85491"/>
                <a:gd name="connsiteX1" fmla="*/ 0 w 117516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5491">
                  <a:moveTo>
                    <a:pt x="117516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5" name="Freeform: Shape 1174">
              <a:extLst>
                <a:ext uri="{FF2B5EF4-FFF2-40B4-BE49-F238E27FC236}">
                  <a16:creationId xmlns:a16="http://schemas.microsoft.com/office/drawing/2014/main" id="{C346F22E-493D-4C8D-BAE3-108EA8B326D0}"/>
                </a:ext>
              </a:extLst>
            </p:cNvPr>
            <p:cNvSpPr/>
            <p:nvPr/>
          </p:nvSpPr>
          <p:spPr>
            <a:xfrm>
              <a:off x="3184349" y="3835185"/>
              <a:ext cx="117794" cy="8075"/>
            </a:xfrm>
            <a:custGeom>
              <a:avLst/>
              <a:gdLst>
                <a:gd name="connsiteX0" fmla="*/ 117795 w 117794"/>
                <a:gd name="connsiteY0" fmla="*/ 0 h 8075"/>
                <a:gd name="connsiteX1" fmla="*/ 0 w 117794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075">
                  <a:moveTo>
                    <a:pt x="11779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6" name="Freeform: Shape 1175">
              <a:extLst>
                <a:ext uri="{FF2B5EF4-FFF2-40B4-BE49-F238E27FC236}">
                  <a16:creationId xmlns:a16="http://schemas.microsoft.com/office/drawing/2014/main" id="{8C6FD223-361F-4386-A960-AEC8CCD50FC0}"/>
                </a:ext>
              </a:extLst>
            </p:cNvPr>
            <p:cNvSpPr/>
            <p:nvPr/>
          </p:nvSpPr>
          <p:spPr>
            <a:xfrm>
              <a:off x="2954608" y="3843260"/>
              <a:ext cx="117516" cy="5291"/>
            </a:xfrm>
            <a:custGeom>
              <a:avLst/>
              <a:gdLst>
                <a:gd name="connsiteX0" fmla="*/ 0 w 117516"/>
                <a:gd name="connsiteY0" fmla="*/ 0 h 5291"/>
                <a:gd name="connsiteX1" fmla="*/ 117516 w 117516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291">
                  <a:moveTo>
                    <a:pt x="0" y="0"/>
                  </a:moveTo>
                  <a:lnTo>
                    <a:pt x="117516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7" name="Freeform: Shape 1176">
              <a:extLst>
                <a:ext uri="{FF2B5EF4-FFF2-40B4-BE49-F238E27FC236}">
                  <a16:creationId xmlns:a16="http://schemas.microsoft.com/office/drawing/2014/main" id="{7A756FB7-485C-411A-AA1A-F7356C195FB8}"/>
                </a:ext>
              </a:extLst>
            </p:cNvPr>
            <p:cNvSpPr/>
            <p:nvPr/>
          </p:nvSpPr>
          <p:spPr>
            <a:xfrm>
              <a:off x="7969646" y="4877791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8" name="Freeform: Shape 1177">
              <a:extLst>
                <a:ext uri="{FF2B5EF4-FFF2-40B4-BE49-F238E27FC236}">
                  <a16:creationId xmlns:a16="http://schemas.microsoft.com/office/drawing/2014/main" id="{29CE302F-A459-447D-A528-9BEDF5C91CBA}"/>
                </a:ext>
              </a:extLst>
            </p:cNvPr>
            <p:cNvSpPr/>
            <p:nvPr/>
          </p:nvSpPr>
          <p:spPr>
            <a:xfrm>
              <a:off x="3866053" y="2867487"/>
              <a:ext cx="117794" cy="74909"/>
            </a:xfrm>
            <a:custGeom>
              <a:avLst/>
              <a:gdLst>
                <a:gd name="connsiteX0" fmla="*/ 117794 w 117794"/>
                <a:gd name="connsiteY0" fmla="*/ 0 h 74909"/>
                <a:gd name="connsiteX1" fmla="*/ 0 w 117794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4909">
                  <a:moveTo>
                    <a:pt x="117794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9" name="Freeform: Shape 1178">
              <a:extLst>
                <a:ext uri="{FF2B5EF4-FFF2-40B4-BE49-F238E27FC236}">
                  <a16:creationId xmlns:a16="http://schemas.microsoft.com/office/drawing/2014/main" id="{449C23B4-4A39-403F-B48D-B0BE0E567709}"/>
                </a:ext>
              </a:extLst>
            </p:cNvPr>
            <p:cNvSpPr/>
            <p:nvPr/>
          </p:nvSpPr>
          <p:spPr>
            <a:xfrm>
              <a:off x="3866053" y="798426"/>
              <a:ext cx="91060" cy="117516"/>
            </a:xfrm>
            <a:custGeom>
              <a:avLst/>
              <a:gdLst>
                <a:gd name="connsiteX0" fmla="*/ 91061 w 91060"/>
                <a:gd name="connsiteY0" fmla="*/ 0 h 117516"/>
                <a:gd name="connsiteX1" fmla="*/ 0 w 91060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516">
                  <a:moveTo>
                    <a:pt x="91061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0" name="Freeform: Shape 1179">
              <a:extLst>
                <a:ext uri="{FF2B5EF4-FFF2-40B4-BE49-F238E27FC236}">
                  <a16:creationId xmlns:a16="http://schemas.microsoft.com/office/drawing/2014/main" id="{1374EA4A-9010-4537-A1AD-AD100FACFD45}"/>
                </a:ext>
              </a:extLst>
            </p:cNvPr>
            <p:cNvSpPr/>
            <p:nvPr/>
          </p:nvSpPr>
          <p:spPr>
            <a:xfrm>
              <a:off x="3409078" y="4864424"/>
              <a:ext cx="112225" cy="106934"/>
            </a:xfrm>
            <a:custGeom>
              <a:avLst/>
              <a:gdLst>
                <a:gd name="connsiteX0" fmla="*/ 112225 w 112225"/>
                <a:gd name="connsiteY0" fmla="*/ 0 h 106934"/>
                <a:gd name="connsiteX1" fmla="*/ 0 w 112225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6934">
                  <a:moveTo>
                    <a:pt x="11222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1" name="Freeform: Shape 1180">
              <a:extLst>
                <a:ext uri="{FF2B5EF4-FFF2-40B4-BE49-F238E27FC236}">
                  <a16:creationId xmlns:a16="http://schemas.microsoft.com/office/drawing/2014/main" id="{1A9E4E96-4966-4865-B290-BCDBA07B870D}"/>
                </a:ext>
              </a:extLst>
            </p:cNvPr>
            <p:cNvSpPr/>
            <p:nvPr/>
          </p:nvSpPr>
          <p:spPr>
            <a:xfrm>
              <a:off x="5002227" y="4185505"/>
              <a:ext cx="112225" cy="106934"/>
            </a:xfrm>
            <a:custGeom>
              <a:avLst/>
              <a:gdLst>
                <a:gd name="connsiteX0" fmla="*/ 112225 w 112225"/>
                <a:gd name="connsiteY0" fmla="*/ 0 h 106934"/>
                <a:gd name="connsiteX1" fmla="*/ 0 w 112225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6934">
                  <a:moveTo>
                    <a:pt x="11222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2" name="Freeform: Shape 1181">
              <a:extLst>
                <a:ext uri="{FF2B5EF4-FFF2-40B4-BE49-F238E27FC236}">
                  <a16:creationId xmlns:a16="http://schemas.microsoft.com/office/drawing/2014/main" id="{BC89F54D-37A1-4B43-9018-1DAEE60106A2}"/>
                </a:ext>
              </a:extLst>
            </p:cNvPr>
            <p:cNvSpPr/>
            <p:nvPr/>
          </p:nvSpPr>
          <p:spPr>
            <a:xfrm>
              <a:off x="7287941" y="4172138"/>
              <a:ext cx="91060" cy="117516"/>
            </a:xfrm>
            <a:custGeom>
              <a:avLst/>
              <a:gdLst>
                <a:gd name="connsiteX0" fmla="*/ 91061 w 91060"/>
                <a:gd name="connsiteY0" fmla="*/ 0 h 117516"/>
                <a:gd name="connsiteX1" fmla="*/ 0 w 91060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516">
                  <a:moveTo>
                    <a:pt x="91061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3" name="Freeform: Shape 1182">
              <a:extLst>
                <a:ext uri="{FF2B5EF4-FFF2-40B4-BE49-F238E27FC236}">
                  <a16:creationId xmlns:a16="http://schemas.microsoft.com/office/drawing/2014/main" id="{4B274D17-C55A-446A-A384-2A3FD34DA884}"/>
                </a:ext>
              </a:extLst>
            </p:cNvPr>
            <p:cNvSpPr/>
            <p:nvPr/>
          </p:nvSpPr>
          <p:spPr>
            <a:xfrm>
              <a:off x="3638819" y="2872778"/>
              <a:ext cx="115009" cy="72403"/>
            </a:xfrm>
            <a:custGeom>
              <a:avLst/>
              <a:gdLst>
                <a:gd name="connsiteX0" fmla="*/ 115010 w 115009"/>
                <a:gd name="connsiteY0" fmla="*/ 0 h 72403"/>
                <a:gd name="connsiteX1" fmla="*/ 0 w 115009"/>
                <a:gd name="connsiteY1" fmla="*/ 72403 h 72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72403">
                  <a:moveTo>
                    <a:pt x="115010" y="0"/>
                  </a:moveTo>
                  <a:lnTo>
                    <a:pt x="0" y="724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5" name="Freeform: Shape 1184">
              <a:extLst>
                <a:ext uri="{FF2B5EF4-FFF2-40B4-BE49-F238E27FC236}">
                  <a16:creationId xmlns:a16="http://schemas.microsoft.com/office/drawing/2014/main" id="{487C3917-5E11-425B-9A1F-5C329C9D8F03}"/>
                </a:ext>
              </a:extLst>
            </p:cNvPr>
            <p:cNvSpPr/>
            <p:nvPr/>
          </p:nvSpPr>
          <p:spPr>
            <a:xfrm>
              <a:off x="4096073" y="3995586"/>
              <a:ext cx="117516" cy="69618"/>
            </a:xfrm>
            <a:custGeom>
              <a:avLst/>
              <a:gdLst>
                <a:gd name="connsiteX0" fmla="*/ 117516 w 117516"/>
                <a:gd name="connsiteY0" fmla="*/ 0 h 69618"/>
                <a:gd name="connsiteX1" fmla="*/ 0 w 117516"/>
                <a:gd name="connsiteY1" fmla="*/ 69618 h 6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9618">
                  <a:moveTo>
                    <a:pt x="117516" y="0"/>
                  </a:moveTo>
                  <a:lnTo>
                    <a:pt x="0" y="696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6" name="Freeform: Shape 1185">
              <a:extLst>
                <a:ext uri="{FF2B5EF4-FFF2-40B4-BE49-F238E27FC236}">
                  <a16:creationId xmlns:a16="http://schemas.microsoft.com/office/drawing/2014/main" id="{6DCC31E7-5CCF-4D1E-B6A5-59D79C04F14F}"/>
                </a:ext>
              </a:extLst>
            </p:cNvPr>
            <p:cNvSpPr/>
            <p:nvPr/>
          </p:nvSpPr>
          <p:spPr>
            <a:xfrm>
              <a:off x="2040100" y="2937106"/>
              <a:ext cx="117794" cy="8075"/>
            </a:xfrm>
            <a:custGeom>
              <a:avLst/>
              <a:gdLst>
                <a:gd name="connsiteX0" fmla="*/ 117795 w 117794"/>
                <a:gd name="connsiteY0" fmla="*/ 0 h 8075"/>
                <a:gd name="connsiteX1" fmla="*/ 0 w 117794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075">
                  <a:moveTo>
                    <a:pt x="11779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7" name="Freeform: Shape 1186">
              <a:extLst>
                <a:ext uri="{FF2B5EF4-FFF2-40B4-BE49-F238E27FC236}">
                  <a16:creationId xmlns:a16="http://schemas.microsoft.com/office/drawing/2014/main" id="{8E85A834-E5A6-46D0-864F-D4301455B272}"/>
                </a:ext>
              </a:extLst>
            </p:cNvPr>
            <p:cNvSpPr/>
            <p:nvPr/>
          </p:nvSpPr>
          <p:spPr>
            <a:xfrm>
              <a:off x="9798384" y="2926245"/>
              <a:ext cx="117516" cy="16151"/>
            </a:xfrm>
            <a:custGeom>
              <a:avLst/>
              <a:gdLst>
                <a:gd name="connsiteX0" fmla="*/ 117516 w 117516"/>
                <a:gd name="connsiteY0" fmla="*/ 0 h 16151"/>
                <a:gd name="connsiteX1" fmla="*/ 0 w 117516"/>
                <a:gd name="connsiteY1" fmla="*/ 16152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16151">
                  <a:moveTo>
                    <a:pt x="117516" y="0"/>
                  </a:moveTo>
                  <a:lnTo>
                    <a:pt x="0" y="161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8" name="Freeform: Shape 1187">
              <a:extLst>
                <a:ext uri="{FF2B5EF4-FFF2-40B4-BE49-F238E27FC236}">
                  <a16:creationId xmlns:a16="http://schemas.microsoft.com/office/drawing/2014/main" id="{9CE8869E-3500-4E93-BB6B-12062B6F6A9C}"/>
                </a:ext>
              </a:extLst>
            </p:cNvPr>
            <p:cNvSpPr/>
            <p:nvPr/>
          </p:nvSpPr>
          <p:spPr>
            <a:xfrm>
              <a:off x="8426900" y="2600152"/>
              <a:ext cx="90782" cy="117794"/>
            </a:xfrm>
            <a:custGeom>
              <a:avLst/>
              <a:gdLst>
                <a:gd name="connsiteX0" fmla="*/ 90782 w 90782"/>
                <a:gd name="connsiteY0" fmla="*/ 0 h 117794"/>
                <a:gd name="connsiteX1" fmla="*/ 0 w 90782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117794">
                  <a:moveTo>
                    <a:pt x="90782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9" name="Freeform: Shape 1188">
              <a:extLst>
                <a:ext uri="{FF2B5EF4-FFF2-40B4-BE49-F238E27FC236}">
                  <a16:creationId xmlns:a16="http://schemas.microsoft.com/office/drawing/2014/main" id="{347C3999-215B-4708-A802-4446DD644019}"/>
                </a:ext>
              </a:extLst>
            </p:cNvPr>
            <p:cNvSpPr/>
            <p:nvPr/>
          </p:nvSpPr>
          <p:spPr>
            <a:xfrm>
              <a:off x="9113895" y="2038749"/>
              <a:ext cx="117516" cy="5291"/>
            </a:xfrm>
            <a:custGeom>
              <a:avLst/>
              <a:gdLst>
                <a:gd name="connsiteX0" fmla="*/ 117516 w 117516"/>
                <a:gd name="connsiteY0" fmla="*/ 0 h 5291"/>
                <a:gd name="connsiteX1" fmla="*/ 0 w 117516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291">
                  <a:moveTo>
                    <a:pt x="117516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0" name="Freeform: Shape 1189">
              <a:extLst>
                <a:ext uri="{FF2B5EF4-FFF2-40B4-BE49-F238E27FC236}">
                  <a16:creationId xmlns:a16="http://schemas.microsoft.com/office/drawing/2014/main" id="{67AA821B-17C2-4CA4-820A-EEF4BBCC687E}"/>
                </a:ext>
              </a:extLst>
            </p:cNvPr>
            <p:cNvSpPr/>
            <p:nvPr/>
          </p:nvSpPr>
          <p:spPr>
            <a:xfrm>
              <a:off x="8886660" y="2022876"/>
              <a:ext cx="117516" cy="21164"/>
            </a:xfrm>
            <a:custGeom>
              <a:avLst/>
              <a:gdLst>
                <a:gd name="connsiteX0" fmla="*/ 117516 w 117516"/>
                <a:gd name="connsiteY0" fmla="*/ 0 h 21164"/>
                <a:gd name="connsiteX1" fmla="*/ 0 w 117516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1164">
                  <a:moveTo>
                    <a:pt x="117516" y="0"/>
                  </a:moveTo>
                  <a:lnTo>
                    <a:pt x="0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1" name="Freeform: Shape 1190">
              <a:extLst>
                <a:ext uri="{FF2B5EF4-FFF2-40B4-BE49-F238E27FC236}">
                  <a16:creationId xmlns:a16="http://schemas.microsoft.com/office/drawing/2014/main" id="{6CAE8200-D2CA-41D8-A646-576841DAA5D8}"/>
                </a:ext>
              </a:extLst>
            </p:cNvPr>
            <p:cNvSpPr/>
            <p:nvPr/>
          </p:nvSpPr>
          <p:spPr>
            <a:xfrm>
              <a:off x="2724589" y="4067989"/>
              <a:ext cx="117516" cy="7797"/>
            </a:xfrm>
            <a:custGeom>
              <a:avLst/>
              <a:gdLst>
                <a:gd name="connsiteX0" fmla="*/ 0 w 117516"/>
                <a:gd name="connsiteY0" fmla="*/ 0 h 7797"/>
                <a:gd name="connsiteX1" fmla="*/ 117516 w 117516"/>
                <a:gd name="connsiteY1" fmla="*/ 7797 h 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7797">
                  <a:moveTo>
                    <a:pt x="0" y="0"/>
                  </a:moveTo>
                  <a:lnTo>
                    <a:pt x="117516" y="779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2" name="Freeform: Shape 1191">
              <a:extLst>
                <a:ext uri="{FF2B5EF4-FFF2-40B4-BE49-F238E27FC236}">
                  <a16:creationId xmlns:a16="http://schemas.microsoft.com/office/drawing/2014/main" id="{58F0C02F-5833-41C0-912A-100B6FBB7768}"/>
                </a:ext>
              </a:extLst>
            </p:cNvPr>
            <p:cNvSpPr/>
            <p:nvPr/>
          </p:nvSpPr>
          <p:spPr>
            <a:xfrm>
              <a:off x="2270119" y="4744124"/>
              <a:ext cx="117516" cy="8075"/>
            </a:xfrm>
            <a:custGeom>
              <a:avLst/>
              <a:gdLst>
                <a:gd name="connsiteX0" fmla="*/ 117516 w 117516"/>
                <a:gd name="connsiteY0" fmla="*/ 8076 h 8075"/>
                <a:gd name="connsiteX1" fmla="*/ 0 w 117516"/>
                <a:gd name="connsiteY1" fmla="*/ 0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75">
                  <a:moveTo>
                    <a:pt x="117516" y="8076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3" name="Freeform: Shape 1192">
              <a:extLst>
                <a:ext uri="{FF2B5EF4-FFF2-40B4-BE49-F238E27FC236}">
                  <a16:creationId xmlns:a16="http://schemas.microsoft.com/office/drawing/2014/main" id="{FF808514-D5CF-41DC-A347-B96E5073FEF0}"/>
                </a:ext>
              </a:extLst>
            </p:cNvPr>
            <p:cNvSpPr/>
            <p:nvPr/>
          </p:nvSpPr>
          <p:spPr>
            <a:xfrm>
              <a:off x="9798384" y="4744124"/>
              <a:ext cx="117516" cy="2784"/>
            </a:xfrm>
            <a:custGeom>
              <a:avLst/>
              <a:gdLst>
                <a:gd name="connsiteX0" fmla="*/ 117516 w 117516"/>
                <a:gd name="connsiteY0" fmla="*/ 2785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4" name="Freeform: Shape 1193">
              <a:extLst>
                <a:ext uri="{FF2B5EF4-FFF2-40B4-BE49-F238E27FC236}">
                  <a16:creationId xmlns:a16="http://schemas.microsoft.com/office/drawing/2014/main" id="{5CB6D55C-8354-4779-B354-B68CF9A36B69}"/>
                </a:ext>
              </a:extLst>
            </p:cNvPr>
            <p:cNvSpPr/>
            <p:nvPr/>
          </p:nvSpPr>
          <p:spPr>
            <a:xfrm>
              <a:off x="2270119" y="2407727"/>
              <a:ext cx="115009" cy="82985"/>
            </a:xfrm>
            <a:custGeom>
              <a:avLst/>
              <a:gdLst>
                <a:gd name="connsiteX0" fmla="*/ 115010 w 115009"/>
                <a:gd name="connsiteY0" fmla="*/ 0 h 82985"/>
                <a:gd name="connsiteX1" fmla="*/ 0 w 115009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985">
                  <a:moveTo>
                    <a:pt x="11501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5" name="Freeform: Shape 1194">
              <a:extLst>
                <a:ext uri="{FF2B5EF4-FFF2-40B4-BE49-F238E27FC236}">
                  <a16:creationId xmlns:a16="http://schemas.microsoft.com/office/drawing/2014/main" id="{005D3C9A-D504-4096-A0F6-38C84D714B4F}"/>
                </a:ext>
              </a:extLst>
            </p:cNvPr>
            <p:cNvSpPr/>
            <p:nvPr/>
          </p:nvSpPr>
          <p:spPr>
            <a:xfrm>
              <a:off x="9111110" y="2848830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6" name="Freeform: Shape 1195">
              <a:extLst>
                <a:ext uri="{FF2B5EF4-FFF2-40B4-BE49-F238E27FC236}">
                  <a16:creationId xmlns:a16="http://schemas.microsoft.com/office/drawing/2014/main" id="{9A2B3CB2-95EF-4A5D-AC28-6AE2C22D9958}"/>
                </a:ext>
              </a:extLst>
            </p:cNvPr>
            <p:cNvSpPr/>
            <p:nvPr/>
          </p:nvSpPr>
          <p:spPr>
            <a:xfrm>
              <a:off x="9111110" y="3950194"/>
              <a:ext cx="99136" cy="115009"/>
            </a:xfrm>
            <a:custGeom>
              <a:avLst/>
              <a:gdLst>
                <a:gd name="connsiteX0" fmla="*/ 99136 w 99136"/>
                <a:gd name="connsiteY0" fmla="*/ 0 h 115009"/>
                <a:gd name="connsiteX1" fmla="*/ 0 w 99136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136" h="115009">
                  <a:moveTo>
                    <a:pt x="99136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7" name="Freeform: Shape 1196">
              <a:extLst>
                <a:ext uri="{FF2B5EF4-FFF2-40B4-BE49-F238E27FC236}">
                  <a16:creationId xmlns:a16="http://schemas.microsoft.com/office/drawing/2014/main" id="{61FBFD34-0BC7-4897-8839-6E9187D07845}"/>
                </a:ext>
              </a:extLst>
            </p:cNvPr>
            <p:cNvSpPr/>
            <p:nvPr/>
          </p:nvSpPr>
          <p:spPr>
            <a:xfrm>
              <a:off x="5002227" y="1504079"/>
              <a:ext cx="115009" cy="88276"/>
            </a:xfrm>
            <a:custGeom>
              <a:avLst/>
              <a:gdLst>
                <a:gd name="connsiteX0" fmla="*/ 115010 w 115009"/>
                <a:gd name="connsiteY0" fmla="*/ 0 h 88276"/>
                <a:gd name="connsiteX1" fmla="*/ 0 w 115009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8276">
                  <a:moveTo>
                    <a:pt x="115010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8" name="Freeform: Shape 1197">
              <a:extLst>
                <a:ext uri="{FF2B5EF4-FFF2-40B4-BE49-F238E27FC236}">
                  <a16:creationId xmlns:a16="http://schemas.microsoft.com/office/drawing/2014/main" id="{BA940AFE-B2D9-4EBE-B204-607B758A48A4}"/>
                </a:ext>
              </a:extLst>
            </p:cNvPr>
            <p:cNvSpPr/>
            <p:nvPr/>
          </p:nvSpPr>
          <p:spPr>
            <a:xfrm>
              <a:off x="4550542" y="1480130"/>
              <a:ext cx="104149" cy="109440"/>
            </a:xfrm>
            <a:custGeom>
              <a:avLst/>
              <a:gdLst>
                <a:gd name="connsiteX0" fmla="*/ 104149 w 104149"/>
                <a:gd name="connsiteY0" fmla="*/ 0 h 109440"/>
                <a:gd name="connsiteX1" fmla="*/ 0 w 104149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9440">
                  <a:moveTo>
                    <a:pt x="104149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9" name="Freeform: Shape 1198">
              <a:extLst>
                <a:ext uri="{FF2B5EF4-FFF2-40B4-BE49-F238E27FC236}">
                  <a16:creationId xmlns:a16="http://schemas.microsoft.com/office/drawing/2014/main" id="{27C1F910-98FF-46E1-BD51-9A2313DCA736}"/>
                </a:ext>
              </a:extLst>
            </p:cNvPr>
            <p:cNvSpPr/>
            <p:nvPr/>
          </p:nvSpPr>
          <p:spPr>
            <a:xfrm>
              <a:off x="7055416" y="4190796"/>
              <a:ext cx="112225" cy="101643"/>
            </a:xfrm>
            <a:custGeom>
              <a:avLst/>
              <a:gdLst>
                <a:gd name="connsiteX0" fmla="*/ 112225 w 112225"/>
                <a:gd name="connsiteY0" fmla="*/ 0 h 101643"/>
                <a:gd name="connsiteX1" fmla="*/ 0 w 112225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1643">
                  <a:moveTo>
                    <a:pt x="112225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0" name="Freeform: Shape 1199">
              <a:extLst>
                <a:ext uri="{FF2B5EF4-FFF2-40B4-BE49-F238E27FC236}">
                  <a16:creationId xmlns:a16="http://schemas.microsoft.com/office/drawing/2014/main" id="{98708E36-3AC7-49BB-A052-7A36F5196964}"/>
                </a:ext>
              </a:extLst>
            </p:cNvPr>
            <p:cNvSpPr/>
            <p:nvPr/>
          </p:nvSpPr>
          <p:spPr>
            <a:xfrm>
              <a:off x="6836257" y="1798147"/>
              <a:ext cx="115009" cy="18657"/>
            </a:xfrm>
            <a:custGeom>
              <a:avLst/>
              <a:gdLst>
                <a:gd name="connsiteX0" fmla="*/ 115010 w 115009"/>
                <a:gd name="connsiteY0" fmla="*/ 0 h 18657"/>
                <a:gd name="connsiteX1" fmla="*/ 0 w 115009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18657">
                  <a:moveTo>
                    <a:pt x="115010" y="0"/>
                  </a:moveTo>
                  <a:lnTo>
                    <a:pt x="0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1" name="Freeform: Shape 1200">
              <a:extLst>
                <a:ext uri="{FF2B5EF4-FFF2-40B4-BE49-F238E27FC236}">
                  <a16:creationId xmlns:a16="http://schemas.microsoft.com/office/drawing/2014/main" id="{9D40A339-1E22-431C-935B-446A58791BA9}"/>
                </a:ext>
              </a:extLst>
            </p:cNvPr>
            <p:cNvSpPr/>
            <p:nvPr/>
          </p:nvSpPr>
          <p:spPr>
            <a:xfrm>
              <a:off x="5686716" y="4423322"/>
              <a:ext cx="115009" cy="93567"/>
            </a:xfrm>
            <a:custGeom>
              <a:avLst/>
              <a:gdLst>
                <a:gd name="connsiteX0" fmla="*/ 115009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0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2" name="Freeform: Shape 1201">
              <a:extLst>
                <a:ext uri="{FF2B5EF4-FFF2-40B4-BE49-F238E27FC236}">
                  <a16:creationId xmlns:a16="http://schemas.microsoft.com/office/drawing/2014/main" id="{7301765F-FB6F-4326-8FE5-B46EB9A1B3C7}"/>
                </a:ext>
              </a:extLst>
            </p:cNvPr>
            <p:cNvSpPr/>
            <p:nvPr/>
          </p:nvSpPr>
          <p:spPr>
            <a:xfrm>
              <a:off x="9108604" y="4434182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3" name="Freeform: Shape 1202">
              <a:extLst>
                <a:ext uri="{FF2B5EF4-FFF2-40B4-BE49-F238E27FC236}">
                  <a16:creationId xmlns:a16="http://schemas.microsoft.com/office/drawing/2014/main" id="{99BA1A6A-C044-4C28-9D22-31F6616FF794}"/>
                </a:ext>
              </a:extLst>
            </p:cNvPr>
            <p:cNvSpPr/>
            <p:nvPr/>
          </p:nvSpPr>
          <p:spPr>
            <a:xfrm>
              <a:off x="3181843" y="5313603"/>
              <a:ext cx="109440" cy="104427"/>
            </a:xfrm>
            <a:custGeom>
              <a:avLst/>
              <a:gdLst>
                <a:gd name="connsiteX0" fmla="*/ 109440 w 109440"/>
                <a:gd name="connsiteY0" fmla="*/ 0 h 104427"/>
                <a:gd name="connsiteX1" fmla="*/ 0 w 109440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427">
                  <a:moveTo>
                    <a:pt x="109440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4" name="Freeform: Shape 1203">
              <a:extLst>
                <a:ext uri="{FF2B5EF4-FFF2-40B4-BE49-F238E27FC236}">
                  <a16:creationId xmlns:a16="http://schemas.microsoft.com/office/drawing/2014/main" id="{BA2945FF-AC95-48F2-92AB-0CB4A4FAC199}"/>
                </a:ext>
              </a:extLst>
            </p:cNvPr>
            <p:cNvSpPr/>
            <p:nvPr/>
          </p:nvSpPr>
          <p:spPr>
            <a:xfrm>
              <a:off x="1580339" y="1942675"/>
              <a:ext cx="115009" cy="98858"/>
            </a:xfrm>
            <a:custGeom>
              <a:avLst/>
              <a:gdLst>
                <a:gd name="connsiteX0" fmla="*/ 115010 w 115009"/>
                <a:gd name="connsiteY0" fmla="*/ 0 h 98858"/>
                <a:gd name="connsiteX1" fmla="*/ 0 w 115009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8858">
                  <a:moveTo>
                    <a:pt x="11501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5" name="Freeform: Shape 1204">
              <a:extLst>
                <a:ext uri="{FF2B5EF4-FFF2-40B4-BE49-F238E27FC236}">
                  <a16:creationId xmlns:a16="http://schemas.microsoft.com/office/drawing/2014/main" id="{708EE87A-5077-425A-B177-106179DFAE6A}"/>
                </a:ext>
              </a:extLst>
            </p:cNvPr>
            <p:cNvSpPr/>
            <p:nvPr/>
          </p:nvSpPr>
          <p:spPr>
            <a:xfrm>
              <a:off x="5232247" y="1947966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6" name="Freeform: Shape 1205">
              <a:extLst>
                <a:ext uri="{FF2B5EF4-FFF2-40B4-BE49-F238E27FC236}">
                  <a16:creationId xmlns:a16="http://schemas.microsoft.com/office/drawing/2014/main" id="{0E7F443F-7232-4C23-9538-72C1E414F51E}"/>
                </a:ext>
              </a:extLst>
            </p:cNvPr>
            <p:cNvSpPr/>
            <p:nvPr/>
          </p:nvSpPr>
          <p:spPr>
            <a:xfrm>
              <a:off x="3409078" y="354538"/>
              <a:ext cx="93567" cy="115009"/>
            </a:xfrm>
            <a:custGeom>
              <a:avLst/>
              <a:gdLst>
                <a:gd name="connsiteX0" fmla="*/ 93567 w 93567"/>
                <a:gd name="connsiteY0" fmla="*/ 0 h 115009"/>
                <a:gd name="connsiteX1" fmla="*/ 0 w 93567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15009">
                  <a:moveTo>
                    <a:pt x="93567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7" name="Freeform: Shape 1206">
              <a:extLst>
                <a:ext uri="{FF2B5EF4-FFF2-40B4-BE49-F238E27FC236}">
                  <a16:creationId xmlns:a16="http://schemas.microsoft.com/office/drawing/2014/main" id="{B2679BC1-0092-4622-B7A4-7E82775B4B7A}"/>
                </a:ext>
              </a:extLst>
            </p:cNvPr>
            <p:cNvSpPr/>
            <p:nvPr/>
          </p:nvSpPr>
          <p:spPr>
            <a:xfrm>
              <a:off x="6833472" y="3517167"/>
              <a:ext cx="109718" cy="98858"/>
            </a:xfrm>
            <a:custGeom>
              <a:avLst/>
              <a:gdLst>
                <a:gd name="connsiteX0" fmla="*/ 109719 w 109718"/>
                <a:gd name="connsiteY0" fmla="*/ 0 h 98858"/>
                <a:gd name="connsiteX1" fmla="*/ 0 w 109718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8858">
                  <a:moveTo>
                    <a:pt x="10971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8" name="Freeform: Shape 1207">
              <a:extLst>
                <a:ext uri="{FF2B5EF4-FFF2-40B4-BE49-F238E27FC236}">
                  <a16:creationId xmlns:a16="http://schemas.microsoft.com/office/drawing/2014/main" id="{1E0F10DA-ACC2-4E39-A451-78C7C7C7CF6B}"/>
                </a:ext>
              </a:extLst>
            </p:cNvPr>
            <p:cNvSpPr/>
            <p:nvPr/>
          </p:nvSpPr>
          <p:spPr>
            <a:xfrm>
              <a:off x="9341130" y="3517167"/>
              <a:ext cx="109718" cy="98858"/>
            </a:xfrm>
            <a:custGeom>
              <a:avLst/>
              <a:gdLst>
                <a:gd name="connsiteX0" fmla="*/ 109719 w 109718"/>
                <a:gd name="connsiteY0" fmla="*/ 0 h 98858"/>
                <a:gd name="connsiteX1" fmla="*/ 0 w 109718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8858">
                  <a:moveTo>
                    <a:pt x="10971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9" name="Freeform: Shape 1208">
              <a:extLst>
                <a:ext uri="{FF2B5EF4-FFF2-40B4-BE49-F238E27FC236}">
                  <a16:creationId xmlns:a16="http://schemas.microsoft.com/office/drawing/2014/main" id="{CE6E623D-DA89-4702-9740-BFD9E39832CE}"/>
                </a:ext>
              </a:extLst>
            </p:cNvPr>
            <p:cNvSpPr/>
            <p:nvPr/>
          </p:nvSpPr>
          <p:spPr>
            <a:xfrm>
              <a:off x="5007518" y="2862196"/>
              <a:ext cx="115009" cy="80200"/>
            </a:xfrm>
            <a:custGeom>
              <a:avLst/>
              <a:gdLst>
                <a:gd name="connsiteX0" fmla="*/ 115010 w 115009"/>
                <a:gd name="connsiteY0" fmla="*/ 0 h 80200"/>
                <a:gd name="connsiteX1" fmla="*/ 0 w 115009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0200">
                  <a:moveTo>
                    <a:pt x="115010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0" name="Freeform: Shape 1209">
              <a:extLst>
                <a:ext uri="{FF2B5EF4-FFF2-40B4-BE49-F238E27FC236}">
                  <a16:creationId xmlns:a16="http://schemas.microsoft.com/office/drawing/2014/main" id="{3B4ECEA4-1C20-499C-9591-D96BDF887B6D}"/>
                </a:ext>
              </a:extLst>
            </p:cNvPr>
            <p:cNvSpPr/>
            <p:nvPr/>
          </p:nvSpPr>
          <p:spPr>
            <a:xfrm>
              <a:off x="7058200" y="2843539"/>
              <a:ext cx="114731" cy="98858"/>
            </a:xfrm>
            <a:custGeom>
              <a:avLst/>
              <a:gdLst>
                <a:gd name="connsiteX0" fmla="*/ 114731 w 114731"/>
                <a:gd name="connsiteY0" fmla="*/ 0 h 98858"/>
                <a:gd name="connsiteX1" fmla="*/ 0 w 114731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98858">
                  <a:moveTo>
                    <a:pt x="114731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1" name="Freeform: Shape 1210">
              <a:extLst>
                <a:ext uri="{FF2B5EF4-FFF2-40B4-BE49-F238E27FC236}">
                  <a16:creationId xmlns:a16="http://schemas.microsoft.com/office/drawing/2014/main" id="{6BFC1962-4EDD-4A40-A809-C1D4D76F56DB}"/>
                </a:ext>
              </a:extLst>
            </p:cNvPr>
            <p:cNvSpPr/>
            <p:nvPr/>
          </p:nvSpPr>
          <p:spPr>
            <a:xfrm>
              <a:off x="3866053" y="2618810"/>
              <a:ext cx="115009" cy="99136"/>
            </a:xfrm>
            <a:custGeom>
              <a:avLst/>
              <a:gdLst>
                <a:gd name="connsiteX0" fmla="*/ 115010 w 115009"/>
                <a:gd name="connsiteY0" fmla="*/ 0 h 99136"/>
                <a:gd name="connsiteX1" fmla="*/ 0 w 115009"/>
                <a:gd name="connsiteY1" fmla="*/ 99137 h 99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9136">
                  <a:moveTo>
                    <a:pt x="115010" y="0"/>
                  </a:moveTo>
                  <a:lnTo>
                    <a:pt x="0" y="9913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2" name="Freeform: Shape 1211">
              <a:extLst>
                <a:ext uri="{FF2B5EF4-FFF2-40B4-BE49-F238E27FC236}">
                  <a16:creationId xmlns:a16="http://schemas.microsoft.com/office/drawing/2014/main" id="{5DEDA7BD-3E08-4ACC-8671-5F40B47C7DE6}"/>
                </a:ext>
              </a:extLst>
            </p:cNvPr>
            <p:cNvSpPr/>
            <p:nvPr/>
          </p:nvSpPr>
          <p:spPr>
            <a:xfrm>
              <a:off x="3638819" y="4851058"/>
              <a:ext cx="93567" cy="115009"/>
            </a:xfrm>
            <a:custGeom>
              <a:avLst/>
              <a:gdLst>
                <a:gd name="connsiteX0" fmla="*/ 93567 w 93567"/>
                <a:gd name="connsiteY0" fmla="*/ 0 h 115009"/>
                <a:gd name="connsiteX1" fmla="*/ 0 w 93567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15009">
                  <a:moveTo>
                    <a:pt x="93567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3" name="Freeform: Shape 1212">
              <a:extLst>
                <a:ext uri="{FF2B5EF4-FFF2-40B4-BE49-F238E27FC236}">
                  <a16:creationId xmlns:a16="http://schemas.microsoft.com/office/drawing/2014/main" id="{AB5AE8FF-2DA9-4A25-9E6C-719249066178}"/>
                </a:ext>
              </a:extLst>
            </p:cNvPr>
            <p:cNvSpPr/>
            <p:nvPr/>
          </p:nvSpPr>
          <p:spPr>
            <a:xfrm>
              <a:off x="1810359" y="2183277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4" name="Freeform: Shape 1213">
              <a:extLst>
                <a:ext uri="{FF2B5EF4-FFF2-40B4-BE49-F238E27FC236}">
                  <a16:creationId xmlns:a16="http://schemas.microsoft.com/office/drawing/2014/main" id="{836235A4-C42D-4725-BB29-C42FCDFAE05D}"/>
                </a:ext>
              </a:extLst>
            </p:cNvPr>
            <p:cNvSpPr/>
            <p:nvPr/>
          </p:nvSpPr>
          <p:spPr>
            <a:xfrm>
              <a:off x="5692007" y="2183277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5" name="Freeform: Shape 1214">
              <a:extLst>
                <a:ext uri="{FF2B5EF4-FFF2-40B4-BE49-F238E27FC236}">
                  <a16:creationId xmlns:a16="http://schemas.microsoft.com/office/drawing/2014/main" id="{BB5E6BFE-9AF5-42DE-9841-E30BBFF21035}"/>
                </a:ext>
              </a:extLst>
            </p:cNvPr>
            <p:cNvSpPr/>
            <p:nvPr/>
          </p:nvSpPr>
          <p:spPr>
            <a:xfrm>
              <a:off x="8883876" y="2618810"/>
              <a:ext cx="112503" cy="96351"/>
            </a:xfrm>
            <a:custGeom>
              <a:avLst/>
              <a:gdLst>
                <a:gd name="connsiteX0" fmla="*/ 112504 w 112503"/>
                <a:gd name="connsiteY0" fmla="*/ 0 h 96351"/>
                <a:gd name="connsiteX1" fmla="*/ 0 w 112503"/>
                <a:gd name="connsiteY1" fmla="*/ 96352 h 96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96351">
                  <a:moveTo>
                    <a:pt x="112504" y="0"/>
                  </a:moveTo>
                  <a:lnTo>
                    <a:pt x="0" y="963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6" name="Freeform: Shape 1215">
              <a:extLst>
                <a:ext uri="{FF2B5EF4-FFF2-40B4-BE49-F238E27FC236}">
                  <a16:creationId xmlns:a16="http://schemas.microsoft.com/office/drawing/2014/main" id="{D0C30E6A-1FCB-470F-9A7E-F58183A95BBE}"/>
                </a:ext>
              </a:extLst>
            </p:cNvPr>
            <p:cNvSpPr/>
            <p:nvPr/>
          </p:nvSpPr>
          <p:spPr>
            <a:xfrm>
              <a:off x="8199665" y="4877791"/>
              <a:ext cx="115009" cy="88276"/>
            </a:xfrm>
            <a:custGeom>
              <a:avLst/>
              <a:gdLst>
                <a:gd name="connsiteX0" fmla="*/ 115010 w 115009"/>
                <a:gd name="connsiteY0" fmla="*/ 0 h 88276"/>
                <a:gd name="connsiteX1" fmla="*/ 0 w 115009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8276">
                  <a:moveTo>
                    <a:pt x="115010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7" name="Freeform: Shape 1216">
              <a:extLst>
                <a:ext uri="{FF2B5EF4-FFF2-40B4-BE49-F238E27FC236}">
                  <a16:creationId xmlns:a16="http://schemas.microsoft.com/office/drawing/2014/main" id="{4E2B135D-812C-460B-9076-6DC2E0E39670}"/>
                </a:ext>
              </a:extLst>
            </p:cNvPr>
            <p:cNvSpPr/>
            <p:nvPr/>
          </p:nvSpPr>
          <p:spPr>
            <a:xfrm>
              <a:off x="3181843" y="5099735"/>
              <a:ext cx="114731" cy="93567"/>
            </a:xfrm>
            <a:custGeom>
              <a:avLst/>
              <a:gdLst>
                <a:gd name="connsiteX0" fmla="*/ 114731 w 114731"/>
                <a:gd name="connsiteY0" fmla="*/ 0 h 93567"/>
                <a:gd name="connsiteX1" fmla="*/ 0 w 114731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93567">
                  <a:moveTo>
                    <a:pt x="114731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8" name="Freeform: Shape 1217">
              <a:extLst>
                <a:ext uri="{FF2B5EF4-FFF2-40B4-BE49-F238E27FC236}">
                  <a16:creationId xmlns:a16="http://schemas.microsoft.com/office/drawing/2014/main" id="{EFF12035-B010-494D-8CC6-D4E37DAB3C8A}"/>
                </a:ext>
              </a:extLst>
            </p:cNvPr>
            <p:cNvSpPr/>
            <p:nvPr/>
          </p:nvSpPr>
          <p:spPr>
            <a:xfrm>
              <a:off x="3409078" y="5081077"/>
              <a:ext cx="98858" cy="115009"/>
            </a:xfrm>
            <a:custGeom>
              <a:avLst/>
              <a:gdLst>
                <a:gd name="connsiteX0" fmla="*/ 98858 w 98858"/>
                <a:gd name="connsiteY0" fmla="*/ 0 h 115009"/>
                <a:gd name="connsiteX1" fmla="*/ 0 w 98858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15009">
                  <a:moveTo>
                    <a:pt x="98858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9" name="Freeform: Shape 1218">
              <a:extLst>
                <a:ext uri="{FF2B5EF4-FFF2-40B4-BE49-F238E27FC236}">
                  <a16:creationId xmlns:a16="http://schemas.microsoft.com/office/drawing/2014/main" id="{8092DB99-E6E6-4D98-A6E8-BA54F3172741}"/>
                </a:ext>
              </a:extLst>
            </p:cNvPr>
            <p:cNvSpPr/>
            <p:nvPr/>
          </p:nvSpPr>
          <p:spPr>
            <a:xfrm>
              <a:off x="4550542" y="1047103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0" name="Freeform: Shape 1219">
              <a:extLst>
                <a:ext uri="{FF2B5EF4-FFF2-40B4-BE49-F238E27FC236}">
                  <a16:creationId xmlns:a16="http://schemas.microsoft.com/office/drawing/2014/main" id="{5151BB08-792A-4996-B643-DCE1C83DEFEE}"/>
                </a:ext>
              </a:extLst>
            </p:cNvPr>
            <p:cNvSpPr/>
            <p:nvPr/>
          </p:nvSpPr>
          <p:spPr>
            <a:xfrm>
              <a:off x="8429406" y="4883361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1" name="Freeform: Shape 1220">
              <a:extLst>
                <a:ext uri="{FF2B5EF4-FFF2-40B4-BE49-F238E27FC236}">
                  <a16:creationId xmlns:a16="http://schemas.microsoft.com/office/drawing/2014/main" id="{7BD5B06C-9BFE-4165-BD19-CA1F9E40BD9E}"/>
                </a:ext>
              </a:extLst>
            </p:cNvPr>
            <p:cNvSpPr/>
            <p:nvPr/>
          </p:nvSpPr>
          <p:spPr>
            <a:xfrm>
              <a:off x="7745196" y="4883361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2" name="Freeform: Shape 1221">
              <a:extLst>
                <a:ext uri="{FF2B5EF4-FFF2-40B4-BE49-F238E27FC236}">
                  <a16:creationId xmlns:a16="http://schemas.microsoft.com/office/drawing/2014/main" id="{82275839-9530-4640-812F-AA19E6D249FA}"/>
                </a:ext>
              </a:extLst>
            </p:cNvPr>
            <p:cNvSpPr/>
            <p:nvPr/>
          </p:nvSpPr>
          <p:spPr>
            <a:xfrm>
              <a:off x="5692007" y="2407727"/>
              <a:ext cx="115009" cy="82985"/>
            </a:xfrm>
            <a:custGeom>
              <a:avLst/>
              <a:gdLst>
                <a:gd name="connsiteX0" fmla="*/ 115010 w 115009"/>
                <a:gd name="connsiteY0" fmla="*/ 0 h 82985"/>
                <a:gd name="connsiteX1" fmla="*/ 0 w 115009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985">
                  <a:moveTo>
                    <a:pt x="11501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3" name="Freeform: Shape 1222">
              <a:extLst>
                <a:ext uri="{FF2B5EF4-FFF2-40B4-BE49-F238E27FC236}">
                  <a16:creationId xmlns:a16="http://schemas.microsoft.com/office/drawing/2014/main" id="{D81B0BC2-CEBC-48F3-9707-4862B97D96D6}"/>
                </a:ext>
              </a:extLst>
            </p:cNvPr>
            <p:cNvSpPr/>
            <p:nvPr/>
          </p:nvSpPr>
          <p:spPr>
            <a:xfrm>
              <a:off x="5686716" y="4631899"/>
              <a:ext cx="104149" cy="109718"/>
            </a:xfrm>
            <a:custGeom>
              <a:avLst/>
              <a:gdLst>
                <a:gd name="connsiteX0" fmla="*/ 104149 w 104149"/>
                <a:gd name="connsiteY0" fmla="*/ 0 h 109718"/>
                <a:gd name="connsiteX1" fmla="*/ 0 w 104149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9718">
                  <a:moveTo>
                    <a:pt x="104149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4" name="Freeform: Shape 1223">
              <a:extLst>
                <a:ext uri="{FF2B5EF4-FFF2-40B4-BE49-F238E27FC236}">
                  <a16:creationId xmlns:a16="http://schemas.microsoft.com/office/drawing/2014/main" id="{BAD18911-E48C-4C7F-9606-8F8F5B799E44}"/>
                </a:ext>
              </a:extLst>
            </p:cNvPr>
            <p:cNvSpPr/>
            <p:nvPr/>
          </p:nvSpPr>
          <p:spPr>
            <a:xfrm>
              <a:off x="5237538" y="680631"/>
              <a:ext cx="115009" cy="10860"/>
            </a:xfrm>
            <a:custGeom>
              <a:avLst/>
              <a:gdLst>
                <a:gd name="connsiteX0" fmla="*/ 115010 w 115009"/>
                <a:gd name="connsiteY0" fmla="*/ 0 h 10860"/>
                <a:gd name="connsiteX1" fmla="*/ 0 w 115009"/>
                <a:gd name="connsiteY1" fmla="*/ 10861 h 1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10860">
                  <a:moveTo>
                    <a:pt x="115010" y="0"/>
                  </a:moveTo>
                  <a:lnTo>
                    <a:pt x="0" y="108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5" name="Freeform: Shape 1224">
              <a:extLst>
                <a:ext uri="{FF2B5EF4-FFF2-40B4-BE49-F238E27FC236}">
                  <a16:creationId xmlns:a16="http://schemas.microsoft.com/office/drawing/2014/main" id="{B6046A71-9A9C-480C-B74E-F80B651D7C80}"/>
                </a:ext>
              </a:extLst>
            </p:cNvPr>
            <p:cNvSpPr/>
            <p:nvPr/>
          </p:nvSpPr>
          <p:spPr>
            <a:xfrm>
              <a:off x="5007518" y="2624380"/>
              <a:ext cx="112503" cy="90782"/>
            </a:xfrm>
            <a:custGeom>
              <a:avLst/>
              <a:gdLst>
                <a:gd name="connsiteX0" fmla="*/ 112503 w 112503"/>
                <a:gd name="connsiteY0" fmla="*/ 0 h 90782"/>
                <a:gd name="connsiteX1" fmla="*/ 0 w 112503"/>
                <a:gd name="connsiteY1" fmla="*/ 90782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90782">
                  <a:moveTo>
                    <a:pt x="112503" y="0"/>
                  </a:moveTo>
                  <a:lnTo>
                    <a:pt x="0" y="907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6" name="Freeform: Shape 1225">
              <a:extLst>
                <a:ext uri="{FF2B5EF4-FFF2-40B4-BE49-F238E27FC236}">
                  <a16:creationId xmlns:a16="http://schemas.microsoft.com/office/drawing/2014/main" id="{18B92CAF-9F18-4081-A6FA-F09F25330CE9}"/>
                </a:ext>
              </a:extLst>
            </p:cNvPr>
            <p:cNvSpPr/>
            <p:nvPr/>
          </p:nvSpPr>
          <p:spPr>
            <a:xfrm>
              <a:off x="8424115" y="4631899"/>
              <a:ext cx="104427" cy="115009"/>
            </a:xfrm>
            <a:custGeom>
              <a:avLst/>
              <a:gdLst>
                <a:gd name="connsiteX0" fmla="*/ 104428 w 104427"/>
                <a:gd name="connsiteY0" fmla="*/ 0 h 115009"/>
                <a:gd name="connsiteX1" fmla="*/ 0 w 104427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15009">
                  <a:moveTo>
                    <a:pt x="104428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7" name="Freeform: Shape 1226">
              <a:extLst>
                <a:ext uri="{FF2B5EF4-FFF2-40B4-BE49-F238E27FC236}">
                  <a16:creationId xmlns:a16="http://schemas.microsoft.com/office/drawing/2014/main" id="{94218082-FC4C-4F73-9459-66B572F686B2}"/>
                </a:ext>
              </a:extLst>
            </p:cNvPr>
            <p:cNvSpPr/>
            <p:nvPr/>
          </p:nvSpPr>
          <p:spPr>
            <a:xfrm>
              <a:off x="8654135" y="4642759"/>
              <a:ext cx="109440" cy="104149"/>
            </a:xfrm>
            <a:custGeom>
              <a:avLst/>
              <a:gdLst>
                <a:gd name="connsiteX0" fmla="*/ 109440 w 109440"/>
                <a:gd name="connsiteY0" fmla="*/ 0 h 104149"/>
                <a:gd name="connsiteX1" fmla="*/ 0 w 109440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149">
                  <a:moveTo>
                    <a:pt x="109440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8" name="Freeform: Shape 1227">
              <a:extLst>
                <a:ext uri="{FF2B5EF4-FFF2-40B4-BE49-F238E27FC236}">
                  <a16:creationId xmlns:a16="http://schemas.microsoft.com/office/drawing/2014/main" id="{981C858B-A4B5-4520-B576-ED8538076844}"/>
                </a:ext>
              </a:extLst>
            </p:cNvPr>
            <p:cNvSpPr/>
            <p:nvPr/>
          </p:nvSpPr>
          <p:spPr>
            <a:xfrm>
              <a:off x="8883876" y="4658632"/>
              <a:ext cx="115009" cy="82985"/>
            </a:xfrm>
            <a:custGeom>
              <a:avLst/>
              <a:gdLst>
                <a:gd name="connsiteX0" fmla="*/ 115010 w 115009"/>
                <a:gd name="connsiteY0" fmla="*/ 0 h 82985"/>
                <a:gd name="connsiteX1" fmla="*/ 0 w 115009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985">
                  <a:moveTo>
                    <a:pt x="11501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9" name="Freeform: Shape 1228">
              <a:extLst>
                <a:ext uri="{FF2B5EF4-FFF2-40B4-BE49-F238E27FC236}">
                  <a16:creationId xmlns:a16="http://schemas.microsoft.com/office/drawing/2014/main" id="{EE7C2A89-EB76-4090-B889-A8368A2981EE}"/>
                </a:ext>
              </a:extLst>
            </p:cNvPr>
            <p:cNvSpPr/>
            <p:nvPr/>
          </p:nvSpPr>
          <p:spPr>
            <a:xfrm>
              <a:off x="3184349" y="4674784"/>
              <a:ext cx="115009" cy="66833"/>
            </a:xfrm>
            <a:custGeom>
              <a:avLst/>
              <a:gdLst>
                <a:gd name="connsiteX0" fmla="*/ 115010 w 115009"/>
                <a:gd name="connsiteY0" fmla="*/ 0 h 66833"/>
                <a:gd name="connsiteX1" fmla="*/ 0 w 115009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66833">
                  <a:moveTo>
                    <a:pt x="115010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0" name="Freeform: Shape 1229">
              <a:extLst>
                <a:ext uri="{FF2B5EF4-FFF2-40B4-BE49-F238E27FC236}">
                  <a16:creationId xmlns:a16="http://schemas.microsoft.com/office/drawing/2014/main" id="{96D0098D-77D4-42CB-9C63-F107DFABD960}"/>
                </a:ext>
              </a:extLst>
            </p:cNvPr>
            <p:cNvSpPr/>
            <p:nvPr/>
          </p:nvSpPr>
          <p:spPr>
            <a:xfrm>
              <a:off x="9341130" y="3747187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1" name="Freeform: Shape 1230">
              <a:extLst>
                <a:ext uri="{FF2B5EF4-FFF2-40B4-BE49-F238E27FC236}">
                  <a16:creationId xmlns:a16="http://schemas.microsoft.com/office/drawing/2014/main" id="{F87075F0-A3AA-4F43-BF99-DF60D995AB79}"/>
                </a:ext>
              </a:extLst>
            </p:cNvPr>
            <p:cNvSpPr/>
            <p:nvPr/>
          </p:nvSpPr>
          <p:spPr>
            <a:xfrm>
              <a:off x="2954608" y="2632177"/>
              <a:ext cx="114731" cy="82985"/>
            </a:xfrm>
            <a:custGeom>
              <a:avLst/>
              <a:gdLst>
                <a:gd name="connsiteX0" fmla="*/ 114731 w 114731"/>
                <a:gd name="connsiteY0" fmla="*/ 0 h 82985"/>
                <a:gd name="connsiteX1" fmla="*/ 0 w 114731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82985">
                  <a:moveTo>
                    <a:pt x="11473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2" name="Freeform: Shape 1231">
              <a:extLst>
                <a:ext uri="{FF2B5EF4-FFF2-40B4-BE49-F238E27FC236}">
                  <a16:creationId xmlns:a16="http://schemas.microsoft.com/office/drawing/2014/main" id="{654A5AA6-B2C8-4764-80FC-5A2B73044D75}"/>
                </a:ext>
              </a:extLst>
            </p:cNvPr>
            <p:cNvSpPr/>
            <p:nvPr/>
          </p:nvSpPr>
          <p:spPr>
            <a:xfrm>
              <a:off x="3638819" y="2378209"/>
              <a:ext cx="101642" cy="112503"/>
            </a:xfrm>
            <a:custGeom>
              <a:avLst/>
              <a:gdLst>
                <a:gd name="connsiteX0" fmla="*/ 101643 w 101642"/>
                <a:gd name="connsiteY0" fmla="*/ 0 h 112503"/>
                <a:gd name="connsiteX1" fmla="*/ 0 w 101642"/>
                <a:gd name="connsiteY1" fmla="*/ 112504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12503">
                  <a:moveTo>
                    <a:pt x="101643" y="0"/>
                  </a:moveTo>
                  <a:lnTo>
                    <a:pt x="0" y="1125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3" name="Freeform: Shape 1232">
              <a:extLst>
                <a:ext uri="{FF2B5EF4-FFF2-40B4-BE49-F238E27FC236}">
                  <a16:creationId xmlns:a16="http://schemas.microsoft.com/office/drawing/2014/main" id="{58A0DAD1-0DBA-4F3F-A502-CCC06E32927D}"/>
                </a:ext>
              </a:extLst>
            </p:cNvPr>
            <p:cNvSpPr/>
            <p:nvPr/>
          </p:nvSpPr>
          <p:spPr>
            <a:xfrm>
              <a:off x="5692007" y="2632177"/>
              <a:ext cx="115009" cy="82985"/>
            </a:xfrm>
            <a:custGeom>
              <a:avLst/>
              <a:gdLst>
                <a:gd name="connsiteX0" fmla="*/ 115010 w 115009"/>
                <a:gd name="connsiteY0" fmla="*/ 0 h 82985"/>
                <a:gd name="connsiteX1" fmla="*/ 0 w 115009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985">
                  <a:moveTo>
                    <a:pt x="11501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4" name="Freeform: Shape 1233">
              <a:extLst>
                <a:ext uri="{FF2B5EF4-FFF2-40B4-BE49-F238E27FC236}">
                  <a16:creationId xmlns:a16="http://schemas.microsoft.com/office/drawing/2014/main" id="{FAFDE480-DD4F-4ADC-8996-BEA8E0D0DC77}"/>
                </a:ext>
              </a:extLst>
            </p:cNvPr>
            <p:cNvSpPr/>
            <p:nvPr/>
          </p:nvSpPr>
          <p:spPr>
            <a:xfrm>
              <a:off x="3409078" y="2380993"/>
              <a:ext cx="98858" cy="115009"/>
            </a:xfrm>
            <a:custGeom>
              <a:avLst/>
              <a:gdLst>
                <a:gd name="connsiteX0" fmla="*/ 98858 w 98858"/>
                <a:gd name="connsiteY0" fmla="*/ 0 h 115009"/>
                <a:gd name="connsiteX1" fmla="*/ 0 w 98858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15009">
                  <a:moveTo>
                    <a:pt x="98858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5" name="Freeform: Shape 1234">
              <a:extLst>
                <a:ext uri="{FF2B5EF4-FFF2-40B4-BE49-F238E27FC236}">
                  <a16:creationId xmlns:a16="http://schemas.microsoft.com/office/drawing/2014/main" id="{68447272-0664-4C0A-87E7-A77E7CFF430E}"/>
                </a:ext>
              </a:extLst>
            </p:cNvPr>
            <p:cNvSpPr/>
            <p:nvPr/>
          </p:nvSpPr>
          <p:spPr>
            <a:xfrm>
              <a:off x="9113895" y="2643037"/>
              <a:ext cx="115009" cy="72124"/>
            </a:xfrm>
            <a:custGeom>
              <a:avLst/>
              <a:gdLst>
                <a:gd name="connsiteX0" fmla="*/ 115010 w 115009"/>
                <a:gd name="connsiteY0" fmla="*/ 0 h 72124"/>
                <a:gd name="connsiteX1" fmla="*/ 0 w 115009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72124">
                  <a:moveTo>
                    <a:pt x="115010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6" name="Freeform: Shape 1235">
              <a:extLst>
                <a:ext uri="{FF2B5EF4-FFF2-40B4-BE49-F238E27FC236}">
                  <a16:creationId xmlns:a16="http://schemas.microsoft.com/office/drawing/2014/main" id="{5E96781C-B96E-48D3-8E57-0A67A34D93BE}"/>
                </a:ext>
              </a:extLst>
            </p:cNvPr>
            <p:cNvSpPr/>
            <p:nvPr/>
          </p:nvSpPr>
          <p:spPr>
            <a:xfrm>
              <a:off x="6376496" y="2637746"/>
              <a:ext cx="114731" cy="77415"/>
            </a:xfrm>
            <a:custGeom>
              <a:avLst/>
              <a:gdLst>
                <a:gd name="connsiteX0" fmla="*/ 114731 w 114731"/>
                <a:gd name="connsiteY0" fmla="*/ 0 h 77415"/>
                <a:gd name="connsiteX1" fmla="*/ 0 w 114731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77415">
                  <a:moveTo>
                    <a:pt x="11473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7" name="Freeform: Shape 1236">
              <a:extLst>
                <a:ext uri="{FF2B5EF4-FFF2-40B4-BE49-F238E27FC236}">
                  <a16:creationId xmlns:a16="http://schemas.microsoft.com/office/drawing/2014/main" id="{B031F0C1-B136-40C8-B284-8E42E4BBD85B}"/>
                </a:ext>
              </a:extLst>
            </p:cNvPr>
            <p:cNvSpPr/>
            <p:nvPr/>
          </p:nvSpPr>
          <p:spPr>
            <a:xfrm>
              <a:off x="2497354" y="2394360"/>
              <a:ext cx="115009" cy="98858"/>
            </a:xfrm>
            <a:custGeom>
              <a:avLst/>
              <a:gdLst>
                <a:gd name="connsiteX0" fmla="*/ 115010 w 115009"/>
                <a:gd name="connsiteY0" fmla="*/ 0 h 98858"/>
                <a:gd name="connsiteX1" fmla="*/ 0 w 115009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8858">
                  <a:moveTo>
                    <a:pt x="11501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8" name="Freeform: Shape 1237">
              <a:extLst>
                <a:ext uri="{FF2B5EF4-FFF2-40B4-BE49-F238E27FC236}">
                  <a16:creationId xmlns:a16="http://schemas.microsoft.com/office/drawing/2014/main" id="{E47E30B5-7E43-4B38-83B9-9E2F68F31EE3}"/>
                </a:ext>
              </a:extLst>
            </p:cNvPr>
            <p:cNvSpPr/>
            <p:nvPr/>
          </p:nvSpPr>
          <p:spPr>
            <a:xfrm>
              <a:off x="5007518" y="2394360"/>
              <a:ext cx="112503" cy="96351"/>
            </a:xfrm>
            <a:custGeom>
              <a:avLst/>
              <a:gdLst>
                <a:gd name="connsiteX0" fmla="*/ 112503 w 112503"/>
                <a:gd name="connsiteY0" fmla="*/ 0 h 96351"/>
                <a:gd name="connsiteX1" fmla="*/ 0 w 112503"/>
                <a:gd name="connsiteY1" fmla="*/ 96352 h 96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96351">
                  <a:moveTo>
                    <a:pt x="112503" y="0"/>
                  </a:moveTo>
                  <a:lnTo>
                    <a:pt x="0" y="963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9" name="Freeform: Shape 1238">
              <a:extLst>
                <a:ext uri="{FF2B5EF4-FFF2-40B4-BE49-F238E27FC236}">
                  <a16:creationId xmlns:a16="http://schemas.microsoft.com/office/drawing/2014/main" id="{3741550E-78A2-485C-B65E-CCE90FA6FEFB}"/>
                </a:ext>
              </a:extLst>
            </p:cNvPr>
            <p:cNvSpPr/>
            <p:nvPr/>
          </p:nvSpPr>
          <p:spPr>
            <a:xfrm>
              <a:off x="7969646" y="2391575"/>
              <a:ext cx="109718" cy="104427"/>
            </a:xfrm>
            <a:custGeom>
              <a:avLst/>
              <a:gdLst>
                <a:gd name="connsiteX0" fmla="*/ 109719 w 109718"/>
                <a:gd name="connsiteY0" fmla="*/ 0 h 104427"/>
                <a:gd name="connsiteX1" fmla="*/ 0 w 109718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104427">
                  <a:moveTo>
                    <a:pt x="109719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0" name="Freeform: Shape 1239">
              <a:extLst>
                <a:ext uri="{FF2B5EF4-FFF2-40B4-BE49-F238E27FC236}">
                  <a16:creationId xmlns:a16="http://schemas.microsoft.com/office/drawing/2014/main" id="{1CA957F5-5933-4097-9716-7498EBF127A8}"/>
                </a:ext>
              </a:extLst>
            </p:cNvPr>
            <p:cNvSpPr/>
            <p:nvPr/>
          </p:nvSpPr>
          <p:spPr>
            <a:xfrm>
              <a:off x="7060707" y="1592355"/>
              <a:ext cx="112225" cy="8075"/>
            </a:xfrm>
            <a:custGeom>
              <a:avLst/>
              <a:gdLst>
                <a:gd name="connsiteX0" fmla="*/ 0 w 112225"/>
                <a:gd name="connsiteY0" fmla="*/ 0 h 8075"/>
                <a:gd name="connsiteX1" fmla="*/ 112225 w 11222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075">
                  <a:moveTo>
                    <a:pt x="0" y="0"/>
                  </a:moveTo>
                  <a:lnTo>
                    <a:pt x="112225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1" name="Freeform: Shape 1240">
              <a:extLst>
                <a:ext uri="{FF2B5EF4-FFF2-40B4-BE49-F238E27FC236}">
                  <a16:creationId xmlns:a16="http://schemas.microsoft.com/office/drawing/2014/main" id="{9C3D4686-CD13-4BA1-BB58-5CB88A0C63CF}"/>
                </a:ext>
              </a:extLst>
            </p:cNvPr>
            <p:cNvSpPr/>
            <p:nvPr/>
          </p:nvSpPr>
          <p:spPr>
            <a:xfrm>
              <a:off x="4323308" y="2383778"/>
              <a:ext cx="106934" cy="106934"/>
            </a:xfrm>
            <a:custGeom>
              <a:avLst/>
              <a:gdLst>
                <a:gd name="connsiteX0" fmla="*/ 106934 w 106934"/>
                <a:gd name="connsiteY0" fmla="*/ 0 h 106934"/>
                <a:gd name="connsiteX1" fmla="*/ 0 w 106934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6934">
                  <a:moveTo>
                    <a:pt x="106934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2" name="Freeform: Shape 1241">
              <a:extLst>
                <a:ext uri="{FF2B5EF4-FFF2-40B4-BE49-F238E27FC236}">
                  <a16:creationId xmlns:a16="http://schemas.microsoft.com/office/drawing/2014/main" id="{D4989EA7-7BFA-4DA5-92A9-4FF2C6AC1F03}"/>
                </a:ext>
              </a:extLst>
            </p:cNvPr>
            <p:cNvSpPr/>
            <p:nvPr/>
          </p:nvSpPr>
          <p:spPr>
            <a:xfrm>
              <a:off x="9798384" y="2493218"/>
              <a:ext cx="112225" cy="10860"/>
            </a:xfrm>
            <a:custGeom>
              <a:avLst/>
              <a:gdLst>
                <a:gd name="connsiteX0" fmla="*/ 112225 w 112225"/>
                <a:gd name="connsiteY0" fmla="*/ 10860 h 10860"/>
                <a:gd name="connsiteX1" fmla="*/ 0 w 112225"/>
                <a:gd name="connsiteY1" fmla="*/ 0 h 1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860">
                  <a:moveTo>
                    <a:pt x="112225" y="1086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3" name="Freeform: Shape 1242">
              <a:extLst>
                <a:ext uri="{FF2B5EF4-FFF2-40B4-BE49-F238E27FC236}">
                  <a16:creationId xmlns:a16="http://schemas.microsoft.com/office/drawing/2014/main" id="{C3F83BC5-2808-447D-939C-E5A43174595F}"/>
                </a:ext>
              </a:extLst>
            </p:cNvPr>
            <p:cNvSpPr/>
            <p:nvPr/>
          </p:nvSpPr>
          <p:spPr>
            <a:xfrm>
              <a:off x="4093288" y="2378209"/>
              <a:ext cx="101642" cy="112503"/>
            </a:xfrm>
            <a:custGeom>
              <a:avLst/>
              <a:gdLst>
                <a:gd name="connsiteX0" fmla="*/ 101643 w 101642"/>
                <a:gd name="connsiteY0" fmla="*/ 0 h 112503"/>
                <a:gd name="connsiteX1" fmla="*/ 0 w 101642"/>
                <a:gd name="connsiteY1" fmla="*/ 112504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12503">
                  <a:moveTo>
                    <a:pt x="101643" y="0"/>
                  </a:moveTo>
                  <a:lnTo>
                    <a:pt x="0" y="1125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4" name="Freeform: Shape 1243">
              <a:extLst>
                <a:ext uri="{FF2B5EF4-FFF2-40B4-BE49-F238E27FC236}">
                  <a16:creationId xmlns:a16="http://schemas.microsoft.com/office/drawing/2014/main" id="{AB97BC61-2DC8-45AC-8598-A4F456DDF47F}"/>
                </a:ext>
              </a:extLst>
            </p:cNvPr>
            <p:cNvSpPr/>
            <p:nvPr/>
          </p:nvSpPr>
          <p:spPr>
            <a:xfrm>
              <a:off x="2954608" y="2378209"/>
              <a:ext cx="101364" cy="112503"/>
            </a:xfrm>
            <a:custGeom>
              <a:avLst/>
              <a:gdLst>
                <a:gd name="connsiteX0" fmla="*/ 101365 w 101364"/>
                <a:gd name="connsiteY0" fmla="*/ 0 h 112503"/>
                <a:gd name="connsiteX1" fmla="*/ 0 w 101364"/>
                <a:gd name="connsiteY1" fmla="*/ 112504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112503">
                  <a:moveTo>
                    <a:pt x="101365" y="0"/>
                  </a:moveTo>
                  <a:lnTo>
                    <a:pt x="0" y="1125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5" name="Freeform: Shape 1244">
              <a:extLst>
                <a:ext uri="{FF2B5EF4-FFF2-40B4-BE49-F238E27FC236}">
                  <a16:creationId xmlns:a16="http://schemas.microsoft.com/office/drawing/2014/main" id="{6B575873-4684-4F86-ACA8-986BAAAF942C}"/>
                </a:ext>
              </a:extLst>
            </p:cNvPr>
            <p:cNvSpPr/>
            <p:nvPr/>
          </p:nvSpPr>
          <p:spPr>
            <a:xfrm>
              <a:off x="9111110" y="3279350"/>
              <a:ext cx="91060" cy="112225"/>
            </a:xfrm>
            <a:custGeom>
              <a:avLst/>
              <a:gdLst>
                <a:gd name="connsiteX0" fmla="*/ 91061 w 91060"/>
                <a:gd name="connsiteY0" fmla="*/ 0 h 112225"/>
                <a:gd name="connsiteX1" fmla="*/ 0 w 91060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2225">
                  <a:moveTo>
                    <a:pt x="91061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6" name="Freeform: Shape 1245">
              <a:extLst>
                <a:ext uri="{FF2B5EF4-FFF2-40B4-BE49-F238E27FC236}">
                  <a16:creationId xmlns:a16="http://schemas.microsoft.com/office/drawing/2014/main" id="{A4FA109F-32D8-42B7-B8E0-AE45B0A02AB4}"/>
                </a:ext>
              </a:extLst>
            </p:cNvPr>
            <p:cNvSpPr/>
            <p:nvPr/>
          </p:nvSpPr>
          <p:spPr>
            <a:xfrm>
              <a:off x="7058200" y="3279350"/>
              <a:ext cx="96073" cy="112225"/>
            </a:xfrm>
            <a:custGeom>
              <a:avLst/>
              <a:gdLst>
                <a:gd name="connsiteX0" fmla="*/ 96074 w 96073"/>
                <a:gd name="connsiteY0" fmla="*/ 0 h 112225"/>
                <a:gd name="connsiteX1" fmla="*/ 0 w 96073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2225">
                  <a:moveTo>
                    <a:pt x="96074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7" name="Freeform: Shape 1246">
              <a:extLst>
                <a:ext uri="{FF2B5EF4-FFF2-40B4-BE49-F238E27FC236}">
                  <a16:creationId xmlns:a16="http://schemas.microsoft.com/office/drawing/2014/main" id="{13908A89-41C2-40F3-B0CE-44DC294EDD7E}"/>
                </a:ext>
              </a:extLst>
            </p:cNvPr>
            <p:cNvSpPr/>
            <p:nvPr/>
          </p:nvSpPr>
          <p:spPr>
            <a:xfrm>
              <a:off x="7058200" y="3728250"/>
              <a:ext cx="96073" cy="112503"/>
            </a:xfrm>
            <a:custGeom>
              <a:avLst/>
              <a:gdLst>
                <a:gd name="connsiteX0" fmla="*/ 96074 w 96073"/>
                <a:gd name="connsiteY0" fmla="*/ 0 h 112503"/>
                <a:gd name="connsiteX1" fmla="*/ 0 w 96073"/>
                <a:gd name="connsiteY1" fmla="*/ 112503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2503">
                  <a:moveTo>
                    <a:pt x="96074" y="0"/>
                  </a:moveTo>
                  <a:lnTo>
                    <a:pt x="0" y="1125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8" name="Freeform: Shape 1247">
              <a:extLst>
                <a:ext uri="{FF2B5EF4-FFF2-40B4-BE49-F238E27FC236}">
                  <a16:creationId xmlns:a16="http://schemas.microsoft.com/office/drawing/2014/main" id="{1431D96D-2DB8-4A74-98D2-7847A3ED8B01}"/>
                </a:ext>
              </a:extLst>
            </p:cNvPr>
            <p:cNvSpPr/>
            <p:nvPr/>
          </p:nvSpPr>
          <p:spPr>
            <a:xfrm>
              <a:off x="674185" y="830450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9" name="Freeform: Shape 1248">
              <a:extLst>
                <a:ext uri="{FF2B5EF4-FFF2-40B4-BE49-F238E27FC236}">
                  <a16:creationId xmlns:a16="http://schemas.microsoft.com/office/drawing/2014/main" id="{342C4F21-8EE8-48B2-B770-F5ADAFBA599E}"/>
                </a:ext>
              </a:extLst>
            </p:cNvPr>
            <p:cNvSpPr/>
            <p:nvPr/>
          </p:nvSpPr>
          <p:spPr>
            <a:xfrm>
              <a:off x="5232247" y="2402436"/>
              <a:ext cx="109440" cy="93567"/>
            </a:xfrm>
            <a:custGeom>
              <a:avLst/>
              <a:gdLst>
                <a:gd name="connsiteX0" fmla="*/ 109440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0" name="Freeform: Shape 1249">
              <a:extLst>
                <a:ext uri="{FF2B5EF4-FFF2-40B4-BE49-F238E27FC236}">
                  <a16:creationId xmlns:a16="http://schemas.microsoft.com/office/drawing/2014/main" id="{A1DDA848-1603-4BE7-B2A3-356A5F97354E}"/>
                </a:ext>
              </a:extLst>
            </p:cNvPr>
            <p:cNvSpPr/>
            <p:nvPr/>
          </p:nvSpPr>
          <p:spPr>
            <a:xfrm>
              <a:off x="6830966" y="3295223"/>
              <a:ext cx="109440" cy="98858"/>
            </a:xfrm>
            <a:custGeom>
              <a:avLst/>
              <a:gdLst>
                <a:gd name="connsiteX0" fmla="*/ 109440 w 109440"/>
                <a:gd name="connsiteY0" fmla="*/ 0 h 98858"/>
                <a:gd name="connsiteX1" fmla="*/ 0 w 109440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8858">
                  <a:moveTo>
                    <a:pt x="10944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1" name="Freeform: Shape 1250">
              <a:extLst>
                <a:ext uri="{FF2B5EF4-FFF2-40B4-BE49-F238E27FC236}">
                  <a16:creationId xmlns:a16="http://schemas.microsoft.com/office/drawing/2014/main" id="{3FC559CB-35F3-48AD-BA2D-99539B06A6B7}"/>
                </a:ext>
              </a:extLst>
            </p:cNvPr>
            <p:cNvSpPr/>
            <p:nvPr/>
          </p:nvSpPr>
          <p:spPr>
            <a:xfrm>
              <a:off x="9341130" y="3300514"/>
              <a:ext cx="112225" cy="91060"/>
            </a:xfrm>
            <a:custGeom>
              <a:avLst/>
              <a:gdLst>
                <a:gd name="connsiteX0" fmla="*/ 112225 w 112225"/>
                <a:gd name="connsiteY0" fmla="*/ 0 h 91060"/>
                <a:gd name="connsiteX1" fmla="*/ 0 w 112225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91060">
                  <a:moveTo>
                    <a:pt x="112225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2" name="Freeform: Shape 1251">
              <a:extLst>
                <a:ext uri="{FF2B5EF4-FFF2-40B4-BE49-F238E27FC236}">
                  <a16:creationId xmlns:a16="http://schemas.microsoft.com/office/drawing/2014/main" id="{78E22D93-A5AB-41FB-8390-566119F5D3C8}"/>
                </a:ext>
              </a:extLst>
            </p:cNvPr>
            <p:cNvSpPr/>
            <p:nvPr/>
          </p:nvSpPr>
          <p:spPr>
            <a:xfrm>
              <a:off x="3181843" y="2626886"/>
              <a:ext cx="112225" cy="91060"/>
            </a:xfrm>
            <a:custGeom>
              <a:avLst/>
              <a:gdLst>
                <a:gd name="connsiteX0" fmla="*/ 112225 w 112225"/>
                <a:gd name="connsiteY0" fmla="*/ 0 h 91060"/>
                <a:gd name="connsiteX1" fmla="*/ 0 w 112225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91060">
                  <a:moveTo>
                    <a:pt x="112225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3" name="Freeform: Shape 1252">
              <a:extLst>
                <a:ext uri="{FF2B5EF4-FFF2-40B4-BE49-F238E27FC236}">
                  <a16:creationId xmlns:a16="http://schemas.microsoft.com/office/drawing/2014/main" id="{96B663FB-D122-4334-82CF-E62B44799808}"/>
                </a:ext>
              </a:extLst>
            </p:cNvPr>
            <p:cNvSpPr/>
            <p:nvPr/>
          </p:nvSpPr>
          <p:spPr>
            <a:xfrm>
              <a:off x="9341130" y="3979712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4" name="Freeform: Shape 1253">
              <a:extLst>
                <a:ext uri="{FF2B5EF4-FFF2-40B4-BE49-F238E27FC236}">
                  <a16:creationId xmlns:a16="http://schemas.microsoft.com/office/drawing/2014/main" id="{207DECEA-F9BF-4934-8607-ED55F20FFC1B}"/>
                </a:ext>
              </a:extLst>
            </p:cNvPr>
            <p:cNvSpPr/>
            <p:nvPr/>
          </p:nvSpPr>
          <p:spPr>
            <a:xfrm>
              <a:off x="2045669" y="5418031"/>
              <a:ext cx="112225" cy="13366"/>
            </a:xfrm>
            <a:custGeom>
              <a:avLst/>
              <a:gdLst>
                <a:gd name="connsiteX0" fmla="*/ 112225 w 112225"/>
                <a:gd name="connsiteY0" fmla="*/ 13367 h 13366"/>
                <a:gd name="connsiteX1" fmla="*/ 0 w 112225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3366">
                  <a:moveTo>
                    <a:pt x="112225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5" name="Freeform: Shape 1254">
              <a:extLst>
                <a:ext uri="{FF2B5EF4-FFF2-40B4-BE49-F238E27FC236}">
                  <a16:creationId xmlns:a16="http://schemas.microsoft.com/office/drawing/2014/main" id="{8614F8CA-9C21-4551-A5F1-256C30418963}"/>
                </a:ext>
              </a:extLst>
            </p:cNvPr>
            <p:cNvSpPr/>
            <p:nvPr/>
          </p:nvSpPr>
          <p:spPr>
            <a:xfrm>
              <a:off x="7285435" y="2626886"/>
              <a:ext cx="109440" cy="93567"/>
            </a:xfrm>
            <a:custGeom>
              <a:avLst/>
              <a:gdLst>
                <a:gd name="connsiteX0" fmla="*/ 109440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6" name="Freeform: Shape 1255">
              <a:extLst>
                <a:ext uri="{FF2B5EF4-FFF2-40B4-BE49-F238E27FC236}">
                  <a16:creationId xmlns:a16="http://schemas.microsoft.com/office/drawing/2014/main" id="{A4242123-CFCB-4AB5-9F2E-C58BBC9D7D8C}"/>
                </a:ext>
              </a:extLst>
            </p:cNvPr>
            <p:cNvSpPr/>
            <p:nvPr/>
          </p:nvSpPr>
          <p:spPr>
            <a:xfrm>
              <a:off x="4550542" y="1702074"/>
              <a:ext cx="96073" cy="112225"/>
            </a:xfrm>
            <a:custGeom>
              <a:avLst/>
              <a:gdLst>
                <a:gd name="connsiteX0" fmla="*/ 96073 w 96073"/>
                <a:gd name="connsiteY0" fmla="*/ 0 h 112225"/>
                <a:gd name="connsiteX1" fmla="*/ 0 w 96073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2225">
                  <a:moveTo>
                    <a:pt x="96073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7" name="Freeform: Shape 1256">
              <a:extLst>
                <a:ext uri="{FF2B5EF4-FFF2-40B4-BE49-F238E27FC236}">
                  <a16:creationId xmlns:a16="http://schemas.microsoft.com/office/drawing/2014/main" id="{0FCBA480-7167-4E4A-BCBE-BD60E2247B5D}"/>
                </a:ext>
              </a:extLst>
            </p:cNvPr>
            <p:cNvSpPr/>
            <p:nvPr/>
          </p:nvSpPr>
          <p:spPr>
            <a:xfrm>
              <a:off x="8654135" y="5645265"/>
              <a:ext cx="112225" cy="7797"/>
            </a:xfrm>
            <a:custGeom>
              <a:avLst/>
              <a:gdLst>
                <a:gd name="connsiteX0" fmla="*/ 112225 w 112225"/>
                <a:gd name="connsiteY0" fmla="*/ 7797 h 7797"/>
                <a:gd name="connsiteX1" fmla="*/ 0 w 112225"/>
                <a:gd name="connsiteY1" fmla="*/ 0 h 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7797">
                  <a:moveTo>
                    <a:pt x="112225" y="779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8" name="Freeform: Shape 1257">
              <a:extLst>
                <a:ext uri="{FF2B5EF4-FFF2-40B4-BE49-F238E27FC236}">
                  <a16:creationId xmlns:a16="http://schemas.microsoft.com/office/drawing/2014/main" id="{CF659C50-25C1-42EF-AD49-53A78077A281}"/>
                </a:ext>
              </a:extLst>
            </p:cNvPr>
            <p:cNvSpPr/>
            <p:nvPr/>
          </p:nvSpPr>
          <p:spPr>
            <a:xfrm>
              <a:off x="6603731" y="3081355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9" name="Freeform: Shape 1258">
              <a:extLst>
                <a:ext uri="{FF2B5EF4-FFF2-40B4-BE49-F238E27FC236}">
                  <a16:creationId xmlns:a16="http://schemas.microsoft.com/office/drawing/2014/main" id="{B92A8C49-DBFE-4560-A94D-742000675578}"/>
                </a:ext>
              </a:extLst>
            </p:cNvPr>
            <p:cNvSpPr/>
            <p:nvPr/>
          </p:nvSpPr>
          <p:spPr>
            <a:xfrm>
              <a:off x="6830966" y="3070773"/>
              <a:ext cx="109440" cy="98858"/>
            </a:xfrm>
            <a:custGeom>
              <a:avLst/>
              <a:gdLst>
                <a:gd name="connsiteX0" fmla="*/ 109440 w 109440"/>
                <a:gd name="connsiteY0" fmla="*/ 0 h 98858"/>
                <a:gd name="connsiteX1" fmla="*/ 0 w 109440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8858">
                  <a:moveTo>
                    <a:pt x="10944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0" name="Freeform: Shape 1259">
              <a:extLst>
                <a:ext uri="{FF2B5EF4-FFF2-40B4-BE49-F238E27FC236}">
                  <a16:creationId xmlns:a16="http://schemas.microsoft.com/office/drawing/2014/main" id="{9BEAD48F-48E2-4833-AD75-F12508410A5C}"/>
                </a:ext>
              </a:extLst>
            </p:cNvPr>
            <p:cNvSpPr/>
            <p:nvPr/>
          </p:nvSpPr>
          <p:spPr>
            <a:xfrm>
              <a:off x="4780283" y="3985004"/>
              <a:ext cx="112503" cy="80200"/>
            </a:xfrm>
            <a:custGeom>
              <a:avLst/>
              <a:gdLst>
                <a:gd name="connsiteX0" fmla="*/ 112503 w 112503"/>
                <a:gd name="connsiteY0" fmla="*/ 0 h 80200"/>
                <a:gd name="connsiteX1" fmla="*/ 0 w 112503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80200">
                  <a:moveTo>
                    <a:pt x="112503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1" name="Freeform: Shape 1260">
              <a:extLst>
                <a:ext uri="{FF2B5EF4-FFF2-40B4-BE49-F238E27FC236}">
                  <a16:creationId xmlns:a16="http://schemas.microsoft.com/office/drawing/2014/main" id="{0A0E51E1-4DEA-48B8-B3BB-87D9F8411956}"/>
                </a:ext>
              </a:extLst>
            </p:cNvPr>
            <p:cNvSpPr/>
            <p:nvPr/>
          </p:nvSpPr>
          <p:spPr>
            <a:xfrm>
              <a:off x="7739905" y="4631899"/>
              <a:ext cx="104149" cy="109718"/>
            </a:xfrm>
            <a:custGeom>
              <a:avLst/>
              <a:gdLst>
                <a:gd name="connsiteX0" fmla="*/ 104149 w 104149"/>
                <a:gd name="connsiteY0" fmla="*/ 0 h 109718"/>
                <a:gd name="connsiteX1" fmla="*/ 0 w 104149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9718">
                  <a:moveTo>
                    <a:pt x="104149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2" name="Freeform: Shape 1261">
              <a:extLst>
                <a:ext uri="{FF2B5EF4-FFF2-40B4-BE49-F238E27FC236}">
                  <a16:creationId xmlns:a16="http://schemas.microsoft.com/office/drawing/2014/main" id="{1D61BA01-6432-4DBF-8856-A0FC6BA37922}"/>
                </a:ext>
              </a:extLst>
            </p:cNvPr>
            <p:cNvSpPr/>
            <p:nvPr/>
          </p:nvSpPr>
          <p:spPr>
            <a:xfrm>
              <a:off x="3409078" y="2626886"/>
              <a:ext cx="109440" cy="93567"/>
            </a:xfrm>
            <a:custGeom>
              <a:avLst/>
              <a:gdLst>
                <a:gd name="connsiteX0" fmla="*/ 109440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3" name="Freeform: Shape 1262">
              <a:extLst>
                <a:ext uri="{FF2B5EF4-FFF2-40B4-BE49-F238E27FC236}">
                  <a16:creationId xmlns:a16="http://schemas.microsoft.com/office/drawing/2014/main" id="{258FF33E-3D8D-45DF-9A10-C4A78FEB0983}"/>
                </a:ext>
              </a:extLst>
            </p:cNvPr>
            <p:cNvSpPr/>
            <p:nvPr/>
          </p:nvSpPr>
          <p:spPr>
            <a:xfrm>
              <a:off x="898635" y="1028167"/>
              <a:ext cx="101642" cy="112503"/>
            </a:xfrm>
            <a:custGeom>
              <a:avLst/>
              <a:gdLst>
                <a:gd name="connsiteX0" fmla="*/ 101643 w 101642"/>
                <a:gd name="connsiteY0" fmla="*/ 0 h 112503"/>
                <a:gd name="connsiteX1" fmla="*/ 0 w 101642"/>
                <a:gd name="connsiteY1" fmla="*/ 112503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12503">
                  <a:moveTo>
                    <a:pt x="101643" y="0"/>
                  </a:moveTo>
                  <a:lnTo>
                    <a:pt x="0" y="1125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4" name="Freeform: Shape 1263">
              <a:extLst>
                <a:ext uri="{FF2B5EF4-FFF2-40B4-BE49-F238E27FC236}">
                  <a16:creationId xmlns:a16="http://schemas.microsoft.com/office/drawing/2014/main" id="{AAD754F7-B71A-4C63-A335-598790D8E41A}"/>
                </a:ext>
              </a:extLst>
            </p:cNvPr>
            <p:cNvSpPr/>
            <p:nvPr/>
          </p:nvSpPr>
          <p:spPr>
            <a:xfrm>
              <a:off x="6833472" y="3985004"/>
              <a:ext cx="112225" cy="80200"/>
            </a:xfrm>
            <a:custGeom>
              <a:avLst/>
              <a:gdLst>
                <a:gd name="connsiteX0" fmla="*/ 112225 w 112225"/>
                <a:gd name="connsiteY0" fmla="*/ 0 h 80200"/>
                <a:gd name="connsiteX1" fmla="*/ 0 w 112225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0200">
                  <a:moveTo>
                    <a:pt x="112225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5" name="Freeform: Shape 1264">
              <a:extLst>
                <a:ext uri="{FF2B5EF4-FFF2-40B4-BE49-F238E27FC236}">
                  <a16:creationId xmlns:a16="http://schemas.microsoft.com/office/drawing/2014/main" id="{A399F989-84A6-45F2-943F-B2A8A6A2C179}"/>
                </a:ext>
              </a:extLst>
            </p:cNvPr>
            <p:cNvSpPr/>
            <p:nvPr/>
          </p:nvSpPr>
          <p:spPr>
            <a:xfrm>
              <a:off x="2500139" y="4295224"/>
              <a:ext cx="112225" cy="7797"/>
            </a:xfrm>
            <a:custGeom>
              <a:avLst/>
              <a:gdLst>
                <a:gd name="connsiteX0" fmla="*/ 112225 w 112225"/>
                <a:gd name="connsiteY0" fmla="*/ 7797 h 7797"/>
                <a:gd name="connsiteX1" fmla="*/ 0 w 112225"/>
                <a:gd name="connsiteY1" fmla="*/ 0 h 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7797">
                  <a:moveTo>
                    <a:pt x="112225" y="779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6" name="Freeform: Shape 1265">
              <a:extLst>
                <a:ext uri="{FF2B5EF4-FFF2-40B4-BE49-F238E27FC236}">
                  <a16:creationId xmlns:a16="http://schemas.microsoft.com/office/drawing/2014/main" id="{CEB9422F-003D-42F4-9EE5-54067F64C379}"/>
                </a:ext>
              </a:extLst>
            </p:cNvPr>
            <p:cNvSpPr/>
            <p:nvPr/>
          </p:nvSpPr>
          <p:spPr>
            <a:xfrm>
              <a:off x="1815650" y="2942397"/>
              <a:ext cx="112225" cy="13366"/>
            </a:xfrm>
            <a:custGeom>
              <a:avLst/>
              <a:gdLst>
                <a:gd name="connsiteX0" fmla="*/ 112225 w 112225"/>
                <a:gd name="connsiteY0" fmla="*/ 13367 h 13366"/>
                <a:gd name="connsiteX1" fmla="*/ 0 w 112225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3366">
                  <a:moveTo>
                    <a:pt x="112225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7" name="Freeform: Shape 1266">
              <a:extLst>
                <a:ext uri="{FF2B5EF4-FFF2-40B4-BE49-F238E27FC236}">
                  <a16:creationId xmlns:a16="http://schemas.microsoft.com/office/drawing/2014/main" id="{73B03C82-5AFF-4256-89D6-8DBFF37D25D8}"/>
                </a:ext>
              </a:extLst>
            </p:cNvPr>
            <p:cNvSpPr/>
            <p:nvPr/>
          </p:nvSpPr>
          <p:spPr>
            <a:xfrm>
              <a:off x="4780283" y="1065761"/>
              <a:ext cx="112503" cy="74909"/>
            </a:xfrm>
            <a:custGeom>
              <a:avLst/>
              <a:gdLst>
                <a:gd name="connsiteX0" fmla="*/ 112503 w 112503"/>
                <a:gd name="connsiteY0" fmla="*/ 0 h 74909"/>
                <a:gd name="connsiteX1" fmla="*/ 0 w 112503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74909">
                  <a:moveTo>
                    <a:pt x="112503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8" name="Freeform: Shape 1267">
              <a:extLst>
                <a:ext uri="{FF2B5EF4-FFF2-40B4-BE49-F238E27FC236}">
                  <a16:creationId xmlns:a16="http://schemas.microsoft.com/office/drawing/2014/main" id="{0493B2D2-F909-4153-8187-ED1ECD9663CB}"/>
                </a:ext>
              </a:extLst>
            </p:cNvPr>
            <p:cNvSpPr/>
            <p:nvPr/>
          </p:nvSpPr>
          <p:spPr>
            <a:xfrm>
              <a:off x="5237538" y="466763"/>
              <a:ext cx="112225" cy="13366"/>
            </a:xfrm>
            <a:custGeom>
              <a:avLst/>
              <a:gdLst>
                <a:gd name="connsiteX0" fmla="*/ 112225 w 112225"/>
                <a:gd name="connsiteY0" fmla="*/ 13367 h 13366"/>
                <a:gd name="connsiteX1" fmla="*/ 0 w 112225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3366">
                  <a:moveTo>
                    <a:pt x="112225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9" name="Freeform: Shape 1268">
              <a:extLst>
                <a:ext uri="{FF2B5EF4-FFF2-40B4-BE49-F238E27FC236}">
                  <a16:creationId xmlns:a16="http://schemas.microsoft.com/office/drawing/2014/main" id="{8A3D856C-2818-46CD-95E4-F8658A45A545}"/>
                </a:ext>
              </a:extLst>
            </p:cNvPr>
            <p:cNvSpPr/>
            <p:nvPr/>
          </p:nvSpPr>
          <p:spPr>
            <a:xfrm>
              <a:off x="1812865" y="1926524"/>
              <a:ext cx="96351" cy="112225"/>
            </a:xfrm>
            <a:custGeom>
              <a:avLst/>
              <a:gdLst>
                <a:gd name="connsiteX0" fmla="*/ 96352 w 96351"/>
                <a:gd name="connsiteY0" fmla="*/ 0 h 112225"/>
                <a:gd name="connsiteX1" fmla="*/ 0 w 96351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12225">
                  <a:moveTo>
                    <a:pt x="96352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0" name="Freeform: Shape 1269">
              <a:extLst>
                <a:ext uri="{FF2B5EF4-FFF2-40B4-BE49-F238E27FC236}">
                  <a16:creationId xmlns:a16="http://schemas.microsoft.com/office/drawing/2014/main" id="{596C0AD4-7546-409A-94E7-38EEB028671F}"/>
                </a:ext>
              </a:extLst>
            </p:cNvPr>
            <p:cNvSpPr/>
            <p:nvPr/>
          </p:nvSpPr>
          <p:spPr>
            <a:xfrm>
              <a:off x="4093288" y="2621595"/>
              <a:ext cx="109718" cy="98858"/>
            </a:xfrm>
            <a:custGeom>
              <a:avLst/>
              <a:gdLst>
                <a:gd name="connsiteX0" fmla="*/ 109719 w 109718"/>
                <a:gd name="connsiteY0" fmla="*/ 0 h 98858"/>
                <a:gd name="connsiteX1" fmla="*/ 0 w 109718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8858">
                  <a:moveTo>
                    <a:pt x="10971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1" name="Freeform: Shape 1270">
              <a:extLst>
                <a:ext uri="{FF2B5EF4-FFF2-40B4-BE49-F238E27FC236}">
                  <a16:creationId xmlns:a16="http://schemas.microsoft.com/office/drawing/2014/main" id="{B8BC5184-1191-46BA-AA20-A687F6AC520F}"/>
                </a:ext>
              </a:extLst>
            </p:cNvPr>
            <p:cNvSpPr/>
            <p:nvPr/>
          </p:nvSpPr>
          <p:spPr>
            <a:xfrm>
              <a:off x="4550542" y="1926524"/>
              <a:ext cx="96073" cy="112225"/>
            </a:xfrm>
            <a:custGeom>
              <a:avLst/>
              <a:gdLst>
                <a:gd name="connsiteX0" fmla="*/ 96073 w 96073"/>
                <a:gd name="connsiteY0" fmla="*/ 0 h 112225"/>
                <a:gd name="connsiteX1" fmla="*/ 0 w 96073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2225">
                  <a:moveTo>
                    <a:pt x="96073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2" name="Freeform: Shape 1271">
              <a:extLst>
                <a:ext uri="{FF2B5EF4-FFF2-40B4-BE49-F238E27FC236}">
                  <a16:creationId xmlns:a16="http://schemas.microsoft.com/office/drawing/2014/main" id="{14C62306-8E53-4C76-B2C9-7D4C35DBD2FE}"/>
                </a:ext>
              </a:extLst>
            </p:cNvPr>
            <p:cNvSpPr/>
            <p:nvPr/>
          </p:nvSpPr>
          <p:spPr>
            <a:xfrm>
              <a:off x="5464772" y="1958548"/>
              <a:ext cx="112225" cy="80200"/>
            </a:xfrm>
            <a:custGeom>
              <a:avLst/>
              <a:gdLst>
                <a:gd name="connsiteX0" fmla="*/ 112225 w 112225"/>
                <a:gd name="connsiteY0" fmla="*/ 0 h 80200"/>
                <a:gd name="connsiteX1" fmla="*/ 0 w 112225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0200">
                  <a:moveTo>
                    <a:pt x="112225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3" name="Freeform: Shape 1272">
              <a:extLst>
                <a:ext uri="{FF2B5EF4-FFF2-40B4-BE49-F238E27FC236}">
                  <a16:creationId xmlns:a16="http://schemas.microsoft.com/office/drawing/2014/main" id="{85962A67-52B3-4D0E-BBAC-971A3D663525}"/>
                </a:ext>
              </a:extLst>
            </p:cNvPr>
            <p:cNvSpPr/>
            <p:nvPr/>
          </p:nvSpPr>
          <p:spPr>
            <a:xfrm>
              <a:off x="901420" y="352032"/>
              <a:ext cx="101642" cy="112225"/>
            </a:xfrm>
            <a:custGeom>
              <a:avLst/>
              <a:gdLst>
                <a:gd name="connsiteX0" fmla="*/ 101643 w 101642"/>
                <a:gd name="connsiteY0" fmla="*/ 0 h 112225"/>
                <a:gd name="connsiteX1" fmla="*/ 0 w 101642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12225">
                  <a:moveTo>
                    <a:pt x="101643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4" name="Freeform: Shape 1273">
              <a:extLst>
                <a:ext uri="{FF2B5EF4-FFF2-40B4-BE49-F238E27FC236}">
                  <a16:creationId xmlns:a16="http://schemas.microsoft.com/office/drawing/2014/main" id="{C190D517-0C97-4493-A5F5-7156B229396A}"/>
                </a:ext>
              </a:extLst>
            </p:cNvPr>
            <p:cNvSpPr/>
            <p:nvPr/>
          </p:nvSpPr>
          <p:spPr>
            <a:xfrm>
              <a:off x="8199665" y="1592355"/>
              <a:ext cx="112225" cy="13366"/>
            </a:xfrm>
            <a:custGeom>
              <a:avLst/>
              <a:gdLst>
                <a:gd name="connsiteX0" fmla="*/ 0 w 112225"/>
                <a:gd name="connsiteY0" fmla="*/ 0 h 13366"/>
                <a:gd name="connsiteX1" fmla="*/ 112225 w 112225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3366">
                  <a:moveTo>
                    <a:pt x="0" y="0"/>
                  </a:moveTo>
                  <a:lnTo>
                    <a:pt x="112225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5" name="Freeform: Shape 1274">
              <a:extLst>
                <a:ext uri="{FF2B5EF4-FFF2-40B4-BE49-F238E27FC236}">
                  <a16:creationId xmlns:a16="http://schemas.microsoft.com/office/drawing/2014/main" id="{A3B2B0A6-5218-47CD-99A4-6675CF95CD7D}"/>
                </a:ext>
              </a:extLst>
            </p:cNvPr>
            <p:cNvSpPr/>
            <p:nvPr/>
          </p:nvSpPr>
          <p:spPr>
            <a:xfrm>
              <a:off x="4320523" y="825159"/>
              <a:ext cx="112225" cy="90782"/>
            </a:xfrm>
            <a:custGeom>
              <a:avLst/>
              <a:gdLst>
                <a:gd name="connsiteX0" fmla="*/ 112225 w 112225"/>
                <a:gd name="connsiteY0" fmla="*/ 0 h 90782"/>
                <a:gd name="connsiteX1" fmla="*/ 0 w 112225"/>
                <a:gd name="connsiteY1" fmla="*/ 90783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90782">
                  <a:moveTo>
                    <a:pt x="112225" y="0"/>
                  </a:moveTo>
                  <a:lnTo>
                    <a:pt x="0" y="907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6" name="Freeform: Shape 1275">
              <a:extLst>
                <a:ext uri="{FF2B5EF4-FFF2-40B4-BE49-F238E27FC236}">
                  <a16:creationId xmlns:a16="http://schemas.microsoft.com/office/drawing/2014/main" id="{550E110F-099D-4319-9F0D-2188E3854103}"/>
                </a:ext>
              </a:extLst>
            </p:cNvPr>
            <p:cNvSpPr/>
            <p:nvPr/>
          </p:nvSpPr>
          <p:spPr>
            <a:xfrm>
              <a:off x="5464772" y="2867487"/>
              <a:ext cx="112225" cy="74909"/>
            </a:xfrm>
            <a:custGeom>
              <a:avLst/>
              <a:gdLst>
                <a:gd name="connsiteX0" fmla="*/ 112225 w 112225"/>
                <a:gd name="connsiteY0" fmla="*/ 0 h 74909"/>
                <a:gd name="connsiteX1" fmla="*/ 0 w 112225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74909">
                  <a:moveTo>
                    <a:pt x="112225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7" name="Freeform: Shape 1276">
              <a:extLst>
                <a:ext uri="{FF2B5EF4-FFF2-40B4-BE49-F238E27FC236}">
                  <a16:creationId xmlns:a16="http://schemas.microsoft.com/office/drawing/2014/main" id="{9B615AE5-0B3E-4F78-8F63-57AFC031FAFF}"/>
                </a:ext>
              </a:extLst>
            </p:cNvPr>
            <p:cNvSpPr/>
            <p:nvPr/>
          </p:nvSpPr>
          <p:spPr>
            <a:xfrm>
              <a:off x="4096073" y="2867487"/>
              <a:ext cx="112225" cy="74909"/>
            </a:xfrm>
            <a:custGeom>
              <a:avLst/>
              <a:gdLst>
                <a:gd name="connsiteX0" fmla="*/ 112225 w 112225"/>
                <a:gd name="connsiteY0" fmla="*/ 0 h 74909"/>
                <a:gd name="connsiteX1" fmla="*/ 0 w 112225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74909">
                  <a:moveTo>
                    <a:pt x="112225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8" name="Freeform: Shape 1277">
              <a:extLst>
                <a:ext uri="{FF2B5EF4-FFF2-40B4-BE49-F238E27FC236}">
                  <a16:creationId xmlns:a16="http://schemas.microsoft.com/office/drawing/2014/main" id="{EFA552FF-FB50-4629-8F6E-FA61A62742A3}"/>
                </a:ext>
              </a:extLst>
            </p:cNvPr>
            <p:cNvSpPr/>
            <p:nvPr/>
          </p:nvSpPr>
          <p:spPr>
            <a:xfrm>
              <a:off x="6606237" y="1367905"/>
              <a:ext cx="112225" cy="10582"/>
            </a:xfrm>
            <a:custGeom>
              <a:avLst/>
              <a:gdLst>
                <a:gd name="connsiteX0" fmla="*/ 0 w 112225"/>
                <a:gd name="connsiteY0" fmla="*/ 0 h 10582"/>
                <a:gd name="connsiteX1" fmla="*/ 112225 w 112225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582">
                  <a:moveTo>
                    <a:pt x="0" y="0"/>
                  </a:moveTo>
                  <a:lnTo>
                    <a:pt x="112225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9" name="Freeform: Shape 1278">
              <a:extLst>
                <a:ext uri="{FF2B5EF4-FFF2-40B4-BE49-F238E27FC236}">
                  <a16:creationId xmlns:a16="http://schemas.microsoft.com/office/drawing/2014/main" id="{787ACC90-BD4D-42B8-8355-8549626416B4}"/>
                </a:ext>
              </a:extLst>
            </p:cNvPr>
            <p:cNvSpPr/>
            <p:nvPr/>
          </p:nvSpPr>
          <p:spPr>
            <a:xfrm>
              <a:off x="4780283" y="1271553"/>
              <a:ext cx="109718" cy="93567"/>
            </a:xfrm>
            <a:custGeom>
              <a:avLst/>
              <a:gdLst>
                <a:gd name="connsiteX0" fmla="*/ 109719 w 109718"/>
                <a:gd name="connsiteY0" fmla="*/ 0 h 93567"/>
                <a:gd name="connsiteX1" fmla="*/ 0 w 109718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3567">
                  <a:moveTo>
                    <a:pt x="10971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0" name="Freeform: Shape 1279">
              <a:extLst>
                <a:ext uri="{FF2B5EF4-FFF2-40B4-BE49-F238E27FC236}">
                  <a16:creationId xmlns:a16="http://schemas.microsoft.com/office/drawing/2014/main" id="{179150F0-8DFA-47D7-B91C-BA6A54AAF5D5}"/>
                </a:ext>
              </a:extLst>
            </p:cNvPr>
            <p:cNvSpPr/>
            <p:nvPr/>
          </p:nvSpPr>
          <p:spPr>
            <a:xfrm>
              <a:off x="2724589" y="3843260"/>
              <a:ext cx="112225" cy="16151"/>
            </a:xfrm>
            <a:custGeom>
              <a:avLst/>
              <a:gdLst>
                <a:gd name="connsiteX0" fmla="*/ 0 w 112225"/>
                <a:gd name="connsiteY0" fmla="*/ 0 h 16151"/>
                <a:gd name="connsiteX1" fmla="*/ 112225 w 112225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6151">
                  <a:moveTo>
                    <a:pt x="0" y="0"/>
                  </a:moveTo>
                  <a:lnTo>
                    <a:pt x="112225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1" name="Freeform: Shape 1280">
              <a:extLst>
                <a:ext uri="{FF2B5EF4-FFF2-40B4-BE49-F238E27FC236}">
                  <a16:creationId xmlns:a16="http://schemas.microsoft.com/office/drawing/2014/main" id="{33D6657A-ECA1-4694-9198-362D7E55995D}"/>
                </a:ext>
              </a:extLst>
            </p:cNvPr>
            <p:cNvSpPr/>
            <p:nvPr/>
          </p:nvSpPr>
          <p:spPr>
            <a:xfrm>
              <a:off x="1131161" y="2493218"/>
              <a:ext cx="112503" cy="13366"/>
            </a:xfrm>
            <a:custGeom>
              <a:avLst/>
              <a:gdLst>
                <a:gd name="connsiteX0" fmla="*/ 112504 w 112503"/>
                <a:gd name="connsiteY0" fmla="*/ 13367 h 13366"/>
                <a:gd name="connsiteX1" fmla="*/ 0 w 112503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13366">
                  <a:moveTo>
                    <a:pt x="112504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2" name="Freeform: Shape 1281">
              <a:extLst>
                <a:ext uri="{FF2B5EF4-FFF2-40B4-BE49-F238E27FC236}">
                  <a16:creationId xmlns:a16="http://schemas.microsoft.com/office/drawing/2014/main" id="{AA8C8CB5-7369-448B-BD1A-3FA97F8BE4EB}"/>
                </a:ext>
              </a:extLst>
            </p:cNvPr>
            <p:cNvSpPr/>
            <p:nvPr/>
          </p:nvSpPr>
          <p:spPr>
            <a:xfrm>
              <a:off x="4320523" y="1252895"/>
              <a:ext cx="96351" cy="112225"/>
            </a:xfrm>
            <a:custGeom>
              <a:avLst/>
              <a:gdLst>
                <a:gd name="connsiteX0" fmla="*/ 96352 w 96351"/>
                <a:gd name="connsiteY0" fmla="*/ 0 h 112225"/>
                <a:gd name="connsiteX1" fmla="*/ 0 w 96351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12225">
                  <a:moveTo>
                    <a:pt x="96352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3" name="Freeform: Shape 1282">
              <a:extLst>
                <a:ext uri="{FF2B5EF4-FFF2-40B4-BE49-F238E27FC236}">
                  <a16:creationId xmlns:a16="http://schemas.microsoft.com/office/drawing/2014/main" id="{398D8957-08E3-4F86-A1F0-502F56D471D4}"/>
                </a:ext>
              </a:extLst>
            </p:cNvPr>
            <p:cNvSpPr/>
            <p:nvPr/>
          </p:nvSpPr>
          <p:spPr>
            <a:xfrm>
              <a:off x="6603731" y="2856905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4" name="Freeform: Shape 1283">
              <a:extLst>
                <a:ext uri="{FF2B5EF4-FFF2-40B4-BE49-F238E27FC236}">
                  <a16:creationId xmlns:a16="http://schemas.microsoft.com/office/drawing/2014/main" id="{315DD4E3-6643-479D-BD4D-A92A9AA36637}"/>
                </a:ext>
              </a:extLst>
            </p:cNvPr>
            <p:cNvSpPr/>
            <p:nvPr/>
          </p:nvSpPr>
          <p:spPr>
            <a:xfrm>
              <a:off x="5234753" y="1728807"/>
              <a:ext cx="112503" cy="85491"/>
            </a:xfrm>
            <a:custGeom>
              <a:avLst/>
              <a:gdLst>
                <a:gd name="connsiteX0" fmla="*/ 112503 w 112503"/>
                <a:gd name="connsiteY0" fmla="*/ 0 h 85491"/>
                <a:gd name="connsiteX1" fmla="*/ 0 w 112503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85491">
                  <a:moveTo>
                    <a:pt x="112503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5" name="Freeform: Shape 1284">
              <a:extLst>
                <a:ext uri="{FF2B5EF4-FFF2-40B4-BE49-F238E27FC236}">
                  <a16:creationId xmlns:a16="http://schemas.microsoft.com/office/drawing/2014/main" id="{A909168E-1A3A-411A-96CB-CA5F3C264918}"/>
                </a:ext>
              </a:extLst>
            </p:cNvPr>
            <p:cNvSpPr/>
            <p:nvPr/>
          </p:nvSpPr>
          <p:spPr>
            <a:xfrm>
              <a:off x="4096073" y="600431"/>
              <a:ext cx="112225" cy="91060"/>
            </a:xfrm>
            <a:custGeom>
              <a:avLst/>
              <a:gdLst>
                <a:gd name="connsiteX0" fmla="*/ 112225 w 112225"/>
                <a:gd name="connsiteY0" fmla="*/ 0 h 91060"/>
                <a:gd name="connsiteX1" fmla="*/ 0 w 112225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91060">
                  <a:moveTo>
                    <a:pt x="112225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6" name="Freeform: Shape 1285">
              <a:extLst>
                <a:ext uri="{FF2B5EF4-FFF2-40B4-BE49-F238E27FC236}">
                  <a16:creationId xmlns:a16="http://schemas.microsoft.com/office/drawing/2014/main" id="{595692A3-1F96-420B-823F-74F023D46FBD}"/>
                </a:ext>
              </a:extLst>
            </p:cNvPr>
            <p:cNvSpPr/>
            <p:nvPr/>
          </p:nvSpPr>
          <p:spPr>
            <a:xfrm>
              <a:off x="5464772" y="4204163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7" name="Freeform: Shape 1286">
              <a:extLst>
                <a:ext uri="{FF2B5EF4-FFF2-40B4-BE49-F238E27FC236}">
                  <a16:creationId xmlns:a16="http://schemas.microsoft.com/office/drawing/2014/main" id="{F42200F9-BE10-46F0-87E4-4799829BBA27}"/>
                </a:ext>
              </a:extLst>
            </p:cNvPr>
            <p:cNvSpPr/>
            <p:nvPr/>
          </p:nvSpPr>
          <p:spPr>
            <a:xfrm>
              <a:off x="674185" y="606000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8" name="Freeform: Shape 1287">
              <a:extLst>
                <a:ext uri="{FF2B5EF4-FFF2-40B4-BE49-F238E27FC236}">
                  <a16:creationId xmlns:a16="http://schemas.microsoft.com/office/drawing/2014/main" id="{07C60EA8-DD7E-4692-9C9A-7565F82E4EA6}"/>
                </a:ext>
              </a:extLst>
            </p:cNvPr>
            <p:cNvSpPr/>
            <p:nvPr/>
          </p:nvSpPr>
          <p:spPr>
            <a:xfrm>
              <a:off x="5916457" y="4861918"/>
              <a:ext cx="104427" cy="109440"/>
            </a:xfrm>
            <a:custGeom>
              <a:avLst/>
              <a:gdLst>
                <a:gd name="connsiteX0" fmla="*/ 104428 w 104427"/>
                <a:gd name="connsiteY0" fmla="*/ 0 h 109440"/>
                <a:gd name="connsiteX1" fmla="*/ 0 w 104427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9440">
                  <a:moveTo>
                    <a:pt x="104428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9" name="Freeform: Shape 1288">
              <a:extLst>
                <a:ext uri="{FF2B5EF4-FFF2-40B4-BE49-F238E27FC236}">
                  <a16:creationId xmlns:a16="http://schemas.microsoft.com/office/drawing/2014/main" id="{6350121C-9ACA-4C20-B29A-5C6F27FFD72C}"/>
                </a:ext>
              </a:extLst>
            </p:cNvPr>
            <p:cNvSpPr/>
            <p:nvPr/>
          </p:nvSpPr>
          <p:spPr>
            <a:xfrm>
              <a:off x="5002227" y="1723238"/>
              <a:ext cx="109718" cy="93567"/>
            </a:xfrm>
            <a:custGeom>
              <a:avLst/>
              <a:gdLst>
                <a:gd name="connsiteX0" fmla="*/ 109719 w 109718"/>
                <a:gd name="connsiteY0" fmla="*/ 0 h 93567"/>
                <a:gd name="connsiteX1" fmla="*/ 0 w 109718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3567">
                  <a:moveTo>
                    <a:pt x="10971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0" name="Freeform: Shape 1289">
              <a:extLst>
                <a:ext uri="{FF2B5EF4-FFF2-40B4-BE49-F238E27FC236}">
                  <a16:creationId xmlns:a16="http://schemas.microsoft.com/office/drawing/2014/main" id="{519739B7-0339-4520-88B2-CA47A0B73ABB}"/>
                </a:ext>
              </a:extLst>
            </p:cNvPr>
            <p:cNvSpPr/>
            <p:nvPr/>
          </p:nvSpPr>
          <p:spPr>
            <a:xfrm>
              <a:off x="4772486" y="1712656"/>
              <a:ext cx="109440" cy="104149"/>
            </a:xfrm>
            <a:custGeom>
              <a:avLst/>
              <a:gdLst>
                <a:gd name="connsiteX0" fmla="*/ 109440 w 109440"/>
                <a:gd name="connsiteY0" fmla="*/ 0 h 104149"/>
                <a:gd name="connsiteX1" fmla="*/ 0 w 109440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149">
                  <a:moveTo>
                    <a:pt x="109440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1" name="Freeform: Shape 1290">
              <a:extLst>
                <a:ext uri="{FF2B5EF4-FFF2-40B4-BE49-F238E27FC236}">
                  <a16:creationId xmlns:a16="http://schemas.microsoft.com/office/drawing/2014/main" id="{C9713611-0409-4634-8288-1DDCC9368665}"/>
                </a:ext>
              </a:extLst>
            </p:cNvPr>
            <p:cNvSpPr/>
            <p:nvPr/>
          </p:nvSpPr>
          <p:spPr>
            <a:xfrm>
              <a:off x="4093288" y="4407449"/>
              <a:ext cx="98858" cy="109440"/>
            </a:xfrm>
            <a:custGeom>
              <a:avLst/>
              <a:gdLst>
                <a:gd name="connsiteX0" fmla="*/ 98858 w 98858"/>
                <a:gd name="connsiteY0" fmla="*/ 0 h 109440"/>
                <a:gd name="connsiteX1" fmla="*/ 0 w 98858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09440">
                  <a:moveTo>
                    <a:pt x="98858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2" name="Freeform: Shape 1291">
              <a:extLst>
                <a:ext uri="{FF2B5EF4-FFF2-40B4-BE49-F238E27FC236}">
                  <a16:creationId xmlns:a16="http://schemas.microsoft.com/office/drawing/2014/main" id="{154993FC-1BDC-4F08-A200-17BD988BB511}"/>
                </a:ext>
              </a:extLst>
            </p:cNvPr>
            <p:cNvSpPr/>
            <p:nvPr/>
          </p:nvSpPr>
          <p:spPr>
            <a:xfrm>
              <a:off x="3866053" y="581773"/>
              <a:ext cx="104427" cy="109718"/>
            </a:xfrm>
            <a:custGeom>
              <a:avLst/>
              <a:gdLst>
                <a:gd name="connsiteX0" fmla="*/ 104428 w 104427"/>
                <a:gd name="connsiteY0" fmla="*/ 0 h 109718"/>
                <a:gd name="connsiteX1" fmla="*/ 0 w 104427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9718">
                  <a:moveTo>
                    <a:pt x="104428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3" name="Freeform: Shape 1292">
              <a:extLst>
                <a:ext uri="{FF2B5EF4-FFF2-40B4-BE49-F238E27FC236}">
                  <a16:creationId xmlns:a16="http://schemas.microsoft.com/office/drawing/2014/main" id="{A76B585F-327D-4FEC-BD63-F586D41C8430}"/>
                </a:ext>
              </a:extLst>
            </p:cNvPr>
            <p:cNvSpPr/>
            <p:nvPr/>
          </p:nvSpPr>
          <p:spPr>
            <a:xfrm>
              <a:off x="7285435" y="2835463"/>
              <a:ext cx="98858" cy="109718"/>
            </a:xfrm>
            <a:custGeom>
              <a:avLst/>
              <a:gdLst>
                <a:gd name="connsiteX0" fmla="*/ 98858 w 98858"/>
                <a:gd name="connsiteY0" fmla="*/ 0 h 109718"/>
                <a:gd name="connsiteX1" fmla="*/ 0 w 98858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09718">
                  <a:moveTo>
                    <a:pt x="98858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4" name="Freeform: Shape 1293">
              <a:extLst>
                <a:ext uri="{FF2B5EF4-FFF2-40B4-BE49-F238E27FC236}">
                  <a16:creationId xmlns:a16="http://schemas.microsoft.com/office/drawing/2014/main" id="{07087EBA-476A-4CB9-8695-127768DE8B9F}"/>
                </a:ext>
              </a:extLst>
            </p:cNvPr>
            <p:cNvSpPr/>
            <p:nvPr/>
          </p:nvSpPr>
          <p:spPr>
            <a:xfrm>
              <a:off x="8654135" y="2611013"/>
              <a:ext cx="98858" cy="109440"/>
            </a:xfrm>
            <a:custGeom>
              <a:avLst/>
              <a:gdLst>
                <a:gd name="connsiteX0" fmla="*/ 98858 w 98858"/>
                <a:gd name="connsiteY0" fmla="*/ 0 h 109440"/>
                <a:gd name="connsiteX1" fmla="*/ 0 w 98858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09440">
                  <a:moveTo>
                    <a:pt x="98858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5" name="Freeform: Shape 1294">
              <a:extLst>
                <a:ext uri="{FF2B5EF4-FFF2-40B4-BE49-F238E27FC236}">
                  <a16:creationId xmlns:a16="http://schemas.microsoft.com/office/drawing/2014/main" id="{C138F39F-8979-47F3-9201-E4F6AFD67421}"/>
                </a:ext>
              </a:extLst>
            </p:cNvPr>
            <p:cNvSpPr/>
            <p:nvPr/>
          </p:nvSpPr>
          <p:spPr>
            <a:xfrm>
              <a:off x="7287941" y="4409955"/>
              <a:ext cx="104427" cy="104427"/>
            </a:xfrm>
            <a:custGeom>
              <a:avLst/>
              <a:gdLst>
                <a:gd name="connsiteX0" fmla="*/ 104428 w 104427"/>
                <a:gd name="connsiteY0" fmla="*/ 0 h 104427"/>
                <a:gd name="connsiteX1" fmla="*/ 0 w 104427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427">
                  <a:moveTo>
                    <a:pt x="104428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6" name="Freeform: Shape 1295">
              <a:extLst>
                <a:ext uri="{FF2B5EF4-FFF2-40B4-BE49-F238E27FC236}">
                  <a16:creationId xmlns:a16="http://schemas.microsoft.com/office/drawing/2014/main" id="{0BC298AA-B16F-4AD0-A4F2-09B4D4CDC8B2}"/>
                </a:ext>
              </a:extLst>
            </p:cNvPr>
            <p:cNvSpPr/>
            <p:nvPr/>
          </p:nvSpPr>
          <p:spPr>
            <a:xfrm>
              <a:off x="2040100" y="2167125"/>
              <a:ext cx="104427" cy="104149"/>
            </a:xfrm>
            <a:custGeom>
              <a:avLst/>
              <a:gdLst>
                <a:gd name="connsiteX0" fmla="*/ 104428 w 104427"/>
                <a:gd name="connsiteY0" fmla="*/ 0 h 104149"/>
                <a:gd name="connsiteX1" fmla="*/ 0 w 104427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149">
                  <a:moveTo>
                    <a:pt x="104428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7" name="Freeform: Shape 1296">
              <a:extLst>
                <a:ext uri="{FF2B5EF4-FFF2-40B4-BE49-F238E27FC236}">
                  <a16:creationId xmlns:a16="http://schemas.microsoft.com/office/drawing/2014/main" id="{09008A53-BF21-46DD-860A-F0B87D29EA18}"/>
                </a:ext>
              </a:extLst>
            </p:cNvPr>
            <p:cNvSpPr/>
            <p:nvPr/>
          </p:nvSpPr>
          <p:spPr>
            <a:xfrm>
              <a:off x="4772486" y="4188290"/>
              <a:ext cx="109440" cy="104149"/>
            </a:xfrm>
            <a:custGeom>
              <a:avLst/>
              <a:gdLst>
                <a:gd name="connsiteX0" fmla="*/ 109440 w 109440"/>
                <a:gd name="connsiteY0" fmla="*/ 0 h 104149"/>
                <a:gd name="connsiteX1" fmla="*/ 0 w 109440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149">
                  <a:moveTo>
                    <a:pt x="109440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8" name="Freeform: Shape 1297">
              <a:extLst>
                <a:ext uri="{FF2B5EF4-FFF2-40B4-BE49-F238E27FC236}">
                  <a16:creationId xmlns:a16="http://schemas.microsoft.com/office/drawing/2014/main" id="{3D376371-5ADC-41E8-AD79-98BE481CA5FA}"/>
                </a:ext>
              </a:extLst>
            </p:cNvPr>
            <p:cNvSpPr/>
            <p:nvPr/>
          </p:nvSpPr>
          <p:spPr>
            <a:xfrm>
              <a:off x="4550542" y="4185505"/>
              <a:ext cx="104149" cy="104149"/>
            </a:xfrm>
            <a:custGeom>
              <a:avLst/>
              <a:gdLst>
                <a:gd name="connsiteX0" fmla="*/ 104149 w 104149"/>
                <a:gd name="connsiteY0" fmla="*/ 0 h 104149"/>
                <a:gd name="connsiteX1" fmla="*/ 0 w 104149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4149">
                  <a:moveTo>
                    <a:pt x="104149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9" name="Freeform: Shape 1298">
              <a:extLst>
                <a:ext uri="{FF2B5EF4-FFF2-40B4-BE49-F238E27FC236}">
                  <a16:creationId xmlns:a16="http://schemas.microsoft.com/office/drawing/2014/main" id="{B9FF3B7A-D1A4-4F4B-8C7E-70A7ED31A37D}"/>
                </a:ext>
              </a:extLst>
            </p:cNvPr>
            <p:cNvSpPr/>
            <p:nvPr/>
          </p:nvSpPr>
          <p:spPr>
            <a:xfrm>
              <a:off x="8429406" y="2397145"/>
              <a:ext cx="109718" cy="93567"/>
            </a:xfrm>
            <a:custGeom>
              <a:avLst/>
              <a:gdLst>
                <a:gd name="connsiteX0" fmla="*/ 109718 w 109718"/>
                <a:gd name="connsiteY0" fmla="*/ 0 h 93567"/>
                <a:gd name="connsiteX1" fmla="*/ 0 w 109718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3567">
                  <a:moveTo>
                    <a:pt x="109718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0" name="Freeform: Shape 1299">
              <a:extLst>
                <a:ext uri="{FF2B5EF4-FFF2-40B4-BE49-F238E27FC236}">
                  <a16:creationId xmlns:a16="http://schemas.microsoft.com/office/drawing/2014/main" id="{C92A7E5C-1B59-4D39-B6DA-E4AAB3773031}"/>
                </a:ext>
              </a:extLst>
            </p:cNvPr>
            <p:cNvSpPr/>
            <p:nvPr/>
          </p:nvSpPr>
          <p:spPr>
            <a:xfrm>
              <a:off x="2270119" y="2156543"/>
              <a:ext cx="93567" cy="109440"/>
            </a:xfrm>
            <a:custGeom>
              <a:avLst/>
              <a:gdLst>
                <a:gd name="connsiteX0" fmla="*/ 93567 w 93567"/>
                <a:gd name="connsiteY0" fmla="*/ 0 h 109440"/>
                <a:gd name="connsiteX1" fmla="*/ 0 w 93567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09440">
                  <a:moveTo>
                    <a:pt x="93567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1" name="Freeform: Shape 1300">
              <a:extLst>
                <a:ext uri="{FF2B5EF4-FFF2-40B4-BE49-F238E27FC236}">
                  <a16:creationId xmlns:a16="http://schemas.microsoft.com/office/drawing/2014/main" id="{5A392592-BB54-48F7-AD4D-EAC5E5104CCE}"/>
                </a:ext>
              </a:extLst>
            </p:cNvPr>
            <p:cNvSpPr/>
            <p:nvPr/>
          </p:nvSpPr>
          <p:spPr>
            <a:xfrm>
              <a:off x="4323308" y="2621595"/>
              <a:ext cx="109440" cy="93567"/>
            </a:xfrm>
            <a:custGeom>
              <a:avLst/>
              <a:gdLst>
                <a:gd name="connsiteX0" fmla="*/ 109440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2" name="Freeform: Shape 1301">
              <a:extLst>
                <a:ext uri="{FF2B5EF4-FFF2-40B4-BE49-F238E27FC236}">
                  <a16:creationId xmlns:a16="http://schemas.microsoft.com/office/drawing/2014/main" id="{CBCD01AB-1C65-4278-B9B3-9892562762DA}"/>
                </a:ext>
              </a:extLst>
            </p:cNvPr>
            <p:cNvSpPr/>
            <p:nvPr/>
          </p:nvSpPr>
          <p:spPr>
            <a:xfrm>
              <a:off x="6146477" y="5311097"/>
              <a:ext cx="104149" cy="109440"/>
            </a:xfrm>
            <a:custGeom>
              <a:avLst/>
              <a:gdLst>
                <a:gd name="connsiteX0" fmla="*/ 104150 w 104149"/>
                <a:gd name="connsiteY0" fmla="*/ 0 h 109440"/>
                <a:gd name="connsiteX1" fmla="*/ 0 w 104149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9440">
                  <a:moveTo>
                    <a:pt x="104150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3" name="Freeform: Shape 1302">
              <a:extLst>
                <a:ext uri="{FF2B5EF4-FFF2-40B4-BE49-F238E27FC236}">
                  <a16:creationId xmlns:a16="http://schemas.microsoft.com/office/drawing/2014/main" id="{3A2CCF9E-E1A9-449F-922F-52E0339429F3}"/>
                </a:ext>
              </a:extLst>
            </p:cNvPr>
            <p:cNvSpPr/>
            <p:nvPr/>
          </p:nvSpPr>
          <p:spPr>
            <a:xfrm>
              <a:off x="7745196" y="2397145"/>
              <a:ext cx="109440" cy="93567"/>
            </a:xfrm>
            <a:custGeom>
              <a:avLst/>
              <a:gdLst>
                <a:gd name="connsiteX0" fmla="*/ 109441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1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4" name="Freeform: Shape 1303">
              <a:extLst>
                <a:ext uri="{FF2B5EF4-FFF2-40B4-BE49-F238E27FC236}">
                  <a16:creationId xmlns:a16="http://schemas.microsoft.com/office/drawing/2014/main" id="{4C6D5C98-5E31-40B6-8997-114C61CBDFA7}"/>
                </a:ext>
              </a:extLst>
            </p:cNvPr>
            <p:cNvSpPr/>
            <p:nvPr/>
          </p:nvSpPr>
          <p:spPr>
            <a:xfrm>
              <a:off x="4772486" y="1937106"/>
              <a:ext cx="104149" cy="104427"/>
            </a:xfrm>
            <a:custGeom>
              <a:avLst/>
              <a:gdLst>
                <a:gd name="connsiteX0" fmla="*/ 104149 w 104149"/>
                <a:gd name="connsiteY0" fmla="*/ 0 h 104427"/>
                <a:gd name="connsiteX1" fmla="*/ 0 w 104149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4427">
                  <a:moveTo>
                    <a:pt x="104149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5" name="Freeform: Shape 1304">
              <a:extLst>
                <a:ext uri="{FF2B5EF4-FFF2-40B4-BE49-F238E27FC236}">
                  <a16:creationId xmlns:a16="http://schemas.microsoft.com/office/drawing/2014/main" id="{1FD44A6C-F250-4909-A62C-D903B494607C}"/>
                </a:ext>
              </a:extLst>
            </p:cNvPr>
            <p:cNvSpPr/>
            <p:nvPr/>
          </p:nvSpPr>
          <p:spPr>
            <a:xfrm>
              <a:off x="3638819" y="2621595"/>
              <a:ext cx="109718" cy="93567"/>
            </a:xfrm>
            <a:custGeom>
              <a:avLst/>
              <a:gdLst>
                <a:gd name="connsiteX0" fmla="*/ 109719 w 109718"/>
                <a:gd name="connsiteY0" fmla="*/ 0 h 93567"/>
                <a:gd name="connsiteX1" fmla="*/ 0 w 109718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3567">
                  <a:moveTo>
                    <a:pt x="10971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6" name="Freeform: Shape 1305">
              <a:extLst>
                <a:ext uri="{FF2B5EF4-FFF2-40B4-BE49-F238E27FC236}">
                  <a16:creationId xmlns:a16="http://schemas.microsoft.com/office/drawing/2014/main" id="{71CE63A6-D0E0-4C04-91D2-B0387E649FFA}"/>
                </a:ext>
              </a:extLst>
            </p:cNvPr>
            <p:cNvSpPr/>
            <p:nvPr/>
          </p:nvSpPr>
          <p:spPr>
            <a:xfrm>
              <a:off x="4550542" y="1260971"/>
              <a:ext cx="109440" cy="104149"/>
            </a:xfrm>
            <a:custGeom>
              <a:avLst/>
              <a:gdLst>
                <a:gd name="connsiteX0" fmla="*/ 109440 w 109440"/>
                <a:gd name="connsiteY0" fmla="*/ 0 h 104149"/>
                <a:gd name="connsiteX1" fmla="*/ 0 w 109440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149">
                  <a:moveTo>
                    <a:pt x="109440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7" name="Freeform: Shape 1306">
              <a:extLst>
                <a:ext uri="{FF2B5EF4-FFF2-40B4-BE49-F238E27FC236}">
                  <a16:creationId xmlns:a16="http://schemas.microsoft.com/office/drawing/2014/main" id="{BB06F6C8-4E2D-484D-B36D-00F098CBC5D4}"/>
                </a:ext>
              </a:extLst>
            </p:cNvPr>
            <p:cNvSpPr/>
            <p:nvPr/>
          </p:nvSpPr>
          <p:spPr>
            <a:xfrm>
              <a:off x="4093288" y="809008"/>
              <a:ext cx="104427" cy="109718"/>
            </a:xfrm>
            <a:custGeom>
              <a:avLst/>
              <a:gdLst>
                <a:gd name="connsiteX0" fmla="*/ 104428 w 104427"/>
                <a:gd name="connsiteY0" fmla="*/ 0 h 109718"/>
                <a:gd name="connsiteX1" fmla="*/ 0 w 104427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9718">
                  <a:moveTo>
                    <a:pt x="104428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8" name="Freeform: Shape 1307">
              <a:extLst>
                <a:ext uri="{FF2B5EF4-FFF2-40B4-BE49-F238E27FC236}">
                  <a16:creationId xmlns:a16="http://schemas.microsoft.com/office/drawing/2014/main" id="{93062F80-893D-4179-9077-21F9AFB293E4}"/>
                </a:ext>
              </a:extLst>
            </p:cNvPr>
            <p:cNvSpPr/>
            <p:nvPr/>
          </p:nvSpPr>
          <p:spPr>
            <a:xfrm>
              <a:off x="5924533" y="915942"/>
              <a:ext cx="109718" cy="13366"/>
            </a:xfrm>
            <a:custGeom>
              <a:avLst/>
              <a:gdLst>
                <a:gd name="connsiteX0" fmla="*/ 0 w 109718"/>
                <a:gd name="connsiteY0" fmla="*/ 0 h 13366"/>
                <a:gd name="connsiteX1" fmla="*/ 109718 w 109718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13366">
                  <a:moveTo>
                    <a:pt x="0" y="0"/>
                  </a:moveTo>
                  <a:lnTo>
                    <a:pt x="109718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9" name="Freeform: Shape 1308">
              <a:extLst>
                <a:ext uri="{FF2B5EF4-FFF2-40B4-BE49-F238E27FC236}">
                  <a16:creationId xmlns:a16="http://schemas.microsoft.com/office/drawing/2014/main" id="{8292E531-9C63-4658-8521-B85FF8EBA41C}"/>
                </a:ext>
              </a:extLst>
            </p:cNvPr>
            <p:cNvSpPr/>
            <p:nvPr/>
          </p:nvSpPr>
          <p:spPr>
            <a:xfrm>
              <a:off x="5002227" y="1942675"/>
              <a:ext cx="109718" cy="98858"/>
            </a:xfrm>
            <a:custGeom>
              <a:avLst/>
              <a:gdLst>
                <a:gd name="connsiteX0" fmla="*/ 109719 w 109718"/>
                <a:gd name="connsiteY0" fmla="*/ 0 h 98858"/>
                <a:gd name="connsiteX1" fmla="*/ 0 w 109718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8858">
                  <a:moveTo>
                    <a:pt x="10971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0" name="Freeform: Shape 1309">
              <a:extLst>
                <a:ext uri="{FF2B5EF4-FFF2-40B4-BE49-F238E27FC236}">
                  <a16:creationId xmlns:a16="http://schemas.microsoft.com/office/drawing/2014/main" id="{A658A4CF-5C0D-406B-AA7B-0C3AD4BC5944}"/>
                </a:ext>
              </a:extLst>
            </p:cNvPr>
            <p:cNvSpPr/>
            <p:nvPr/>
          </p:nvSpPr>
          <p:spPr>
            <a:xfrm>
              <a:off x="6146477" y="5097229"/>
              <a:ext cx="104149" cy="98858"/>
            </a:xfrm>
            <a:custGeom>
              <a:avLst/>
              <a:gdLst>
                <a:gd name="connsiteX0" fmla="*/ 104150 w 104149"/>
                <a:gd name="connsiteY0" fmla="*/ 0 h 98858"/>
                <a:gd name="connsiteX1" fmla="*/ 0 w 104149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98858">
                  <a:moveTo>
                    <a:pt x="10415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1" name="Freeform: Shape 1310">
              <a:extLst>
                <a:ext uri="{FF2B5EF4-FFF2-40B4-BE49-F238E27FC236}">
                  <a16:creationId xmlns:a16="http://schemas.microsoft.com/office/drawing/2014/main" id="{76F2464A-5403-40CE-BDC6-01ACF621D0F5}"/>
                </a:ext>
              </a:extLst>
            </p:cNvPr>
            <p:cNvSpPr/>
            <p:nvPr/>
          </p:nvSpPr>
          <p:spPr>
            <a:xfrm>
              <a:off x="4318017" y="4193581"/>
              <a:ext cx="109440" cy="98858"/>
            </a:xfrm>
            <a:custGeom>
              <a:avLst/>
              <a:gdLst>
                <a:gd name="connsiteX0" fmla="*/ 109440 w 109440"/>
                <a:gd name="connsiteY0" fmla="*/ 0 h 98858"/>
                <a:gd name="connsiteX1" fmla="*/ 0 w 109440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8858">
                  <a:moveTo>
                    <a:pt x="10944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2" name="Freeform: Shape 1311">
              <a:extLst>
                <a:ext uri="{FF2B5EF4-FFF2-40B4-BE49-F238E27FC236}">
                  <a16:creationId xmlns:a16="http://schemas.microsoft.com/office/drawing/2014/main" id="{4BBD7295-C8F4-4F9C-944B-998007A1F619}"/>
                </a:ext>
              </a:extLst>
            </p:cNvPr>
            <p:cNvSpPr/>
            <p:nvPr/>
          </p:nvSpPr>
          <p:spPr>
            <a:xfrm>
              <a:off x="7515176" y="2608228"/>
              <a:ext cx="106934" cy="106934"/>
            </a:xfrm>
            <a:custGeom>
              <a:avLst/>
              <a:gdLst>
                <a:gd name="connsiteX0" fmla="*/ 106934 w 106934"/>
                <a:gd name="connsiteY0" fmla="*/ 0 h 106934"/>
                <a:gd name="connsiteX1" fmla="*/ 0 w 106934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6934">
                  <a:moveTo>
                    <a:pt x="106934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3" name="Freeform: Shape 1312">
              <a:extLst>
                <a:ext uri="{FF2B5EF4-FFF2-40B4-BE49-F238E27FC236}">
                  <a16:creationId xmlns:a16="http://schemas.microsoft.com/office/drawing/2014/main" id="{2190A511-93D5-4746-83D8-C233ED2A573C}"/>
                </a:ext>
              </a:extLst>
            </p:cNvPr>
            <p:cNvSpPr/>
            <p:nvPr/>
          </p:nvSpPr>
          <p:spPr>
            <a:xfrm>
              <a:off x="10028125" y="2942397"/>
              <a:ext cx="106934" cy="10582"/>
            </a:xfrm>
            <a:custGeom>
              <a:avLst/>
              <a:gdLst>
                <a:gd name="connsiteX0" fmla="*/ 106934 w 106934"/>
                <a:gd name="connsiteY0" fmla="*/ 10582 h 10582"/>
                <a:gd name="connsiteX1" fmla="*/ 0 w 106934"/>
                <a:gd name="connsiteY1" fmla="*/ 0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582">
                  <a:moveTo>
                    <a:pt x="106934" y="1058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4" name="Freeform: Shape 1313">
              <a:extLst>
                <a:ext uri="{FF2B5EF4-FFF2-40B4-BE49-F238E27FC236}">
                  <a16:creationId xmlns:a16="http://schemas.microsoft.com/office/drawing/2014/main" id="{89869BA9-0522-4DA4-B22A-55C0F425338A}"/>
                </a:ext>
              </a:extLst>
            </p:cNvPr>
            <p:cNvSpPr/>
            <p:nvPr/>
          </p:nvSpPr>
          <p:spPr>
            <a:xfrm>
              <a:off x="6830966" y="1367905"/>
              <a:ext cx="106934" cy="18657"/>
            </a:xfrm>
            <a:custGeom>
              <a:avLst/>
              <a:gdLst>
                <a:gd name="connsiteX0" fmla="*/ 0 w 106934"/>
                <a:gd name="connsiteY0" fmla="*/ 0 h 18657"/>
                <a:gd name="connsiteX1" fmla="*/ 106934 w 106934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5" name="Freeform: Shape 1314">
              <a:extLst>
                <a:ext uri="{FF2B5EF4-FFF2-40B4-BE49-F238E27FC236}">
                  <a16:creationId xmlns:a16="http://schemas.microsoft.com/office/drawing/2014/main" id="{8DFD8DB1-79A6-43CF-A83E-BD94721380BB}"/>
                </a:ext>
              </a:extLst>
            </p:cNvPr>
            <p:cNvSpPr/>
            <p:nvPr/>
          </p:nvSpPr>
          <p:spPr>
            <a:xfrm>
              <a:off x="7058200" y="3958270"/>
              <a:ext cx="101364" cy="106934"/>
            </a:xfrm>
            <a:custGeom>
              <a:avLst/>
              <a:gdLst>
                <a:gd name="connsiteX0" fmla="*/ 101365 w 101364"/>
                <a:gd name="connsiteY0" fmla="*/ 0 h 106934"/>
                <a:gd name="connsiteX1" fmla="*/ 0 w 101364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106934">
                  <a:moveTo>
                    <a:pt x="10136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6" name="Freeform: Shape 1315">
              <a:extLst>
                <a:ext uri="{FF2B5EF4-FFF2-40B4-BE49-F238E27FC236}">
                  <a16:creationId xmlns:a16="http://schemas.microsoft.com/office/drawing/2014/main" id="{FEB36B91-E478-4EE9-BEBA-DFD7443EAAED}"/>
                </a:ext>
              </a:extLst>
            </p:cNvPr>
            <p:cNvSpPr/>
            <p:nvPr/>
          </p:nvSpPr>
          <p:spPr>
            <a:xfrm>
              <a:off x="6833472" y="3754984"/>
              <a:ext cx="106934" cy="85769"/>
            </a:xfrm>
            <a:custGeom>
              <a:avLst/>
              <a:gdLst>
                <a:gd name="connsiteX0" fmla="*/ 106934 w 106934"/>
                <a:gd name="connsiteY0" fmla="*/ 0 h 85769"/>
                <a:gd name="connsiteX1" fmla="*/ 0 w 106934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85769">
                  <a:moveTo>
                    <a:pt x="106934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7" name="Freeform: Shape 1316">
              <a:extLst>
                <a:ext uri="{FF2B5EF4-FFF2-40B4-BE49-F238E27FC236}">
                  <a16:creationId xmlns:a16="http://schemas.microsoft.com/office/drawing/2014/main" id="{5B6E5110-FA5A-491B-8300-B979CC2D7495}"/>
                </a:ext>
              </a:extLst>
            </p:cNvPr>
            <p:cNvSpPr/>
            <p:nvPr/>
          </p:nvSpPr>
          <p:spPr>
            <a:xfrm>
              <a:off x="7290726" y="1595140"/>
              <a:ext cx="106934" cy="13366"/>
            </a:xfrm>
            <a:custGeom>
              <a:avLst/>
              <a:gdLst>
                <a:gd name="connsiteX0" fmla="*/ 106934 w 106934"/>
                <a:gd name="connsiteY0" fmla="*/ 13367 h 13366"/>
                <a:gd name="connsiteX1" fmla="*/ 0 w 106934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3366">
                  <a:moveTo>
                    <a:pt x="106934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8" name="Freeform: Shape 1317">
              <a:extLst>
                <a:ext uri="{FF2B5EF4-FFF2-40B4-BE49-F238E27FC236}">
                  <a16:creationId xmlns:a16="http://schemas.microsoft.com/office/drawing/2014/main" id="{9C31B9F8-B8B5-4CF5-914C-E564B961DAB2}"/>
                </a:ext>
              </a:extLst>
            </p:cNvPr>
            <p:cNvSpPr/>
            <p:nvPr/>
          </p:nvSpPr>
          <p:spPr>
            <a:xfrm>
              <a:off x="1128654" y="1488206"/>
              <a:ext cx="106933" cy="101364"/>
            </a:xfrm>
            <a:custGeom>
              <a:avLst/>
              <a:gdLst>
                <a:gd name="connsiteX0" fmla="*/ 106934 w 106933"/>
                <a:gd name="connsiteY0" fmla="*/ 0 h 101364"/>
                <a:gd name="connsiteX1" fmla="*/ 0 w 106933"/>
                <a:gd name="connsiteY1" fmla="*/ 101364 h 101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01364">
                  <a:moveTo>
                    <a:pt x="106934" y="0"/>
                  </a:moveTo>
                  <a:lnTo>
                    <a:pt x="0" y="1013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9" name="Freeform: Shape 1318">
              <a:extLst>
                <a:ext uri="{FF2B5EF4-FFF2-40B4-BE49-F238E27FC236}">
                  <a16:creationId xmlns:a16="http://schemas.microsoft.com/office/drawing/2014/main" id="{E90E0A82-2302-47E5-BA76-52D520A72398}"/>
                </a:ext>
              </a:extLst>
            </p:cNvPr>
            <p:cNvSpPr/>
            <p:nvPr/>
          </p:nvSpPr>
          <p:spPr>
            <a:xfrm>
              <a:off x="7974937" y="1595140"/>
              <a:ext cx="106933" cy="10582"/>
            </a:xfrm>
            <a:custGeom>
              <a:avLst/>
              <a:gdLst>
                <a:gd name="connsiteX0" fmla="*/ 106934 w 106933"/>
                <a:gd name="connsiteY0" fmla="*/ 10582 h 10582"/>
                <a:gd name="connsiteX1" fmla="*/ 0 w 106933"/>
                <a:gd name="connsiteY1" fmla="*/ 0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0582">
                  <a:moveTo>
                    <a:pt x="106934" y="1058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0" name="Freeform: Shape 1319">
              <a:extLst>
                <a:ext uri="{FF2B5EF4-FFF2-40B4-BE49-F238E27FC236}">
                  <a16:creationId xmlns:a16="http://schemas.microsoft.com/office/drawing/2014/main" id="{7F8F44E2-0DCC-463D-85CF-49476622E7D2}"/>
                </a:ext>
              </a:extLst>
            </p:cNvPr>
            <p:cNvSpPr/>
            <p:nvPr/>
          </p:nvSpPr>
          <p:spPr>
            <a:xfrm>
              <a:off x="9111110" y="3059913"/>
              <a:ext cx="101642" cy="106934"/>
            </a:xfrm>
            <a:custGeom>
              <a:avLst/>
              <a:gdLst>
                <a:gd name="connsiteX0" fmla="*/ 101643 w 101642"/>
                <a:gd name="connsiteY0" fmla="*/ 0 h 106934"/>
                <a:gd name="connsiteX1" fmla="*/ 0 w 101642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06934">
                  <a:moveTo>
                    <a:pt x="101643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1" name="Freeform: Shape 1320">
              <a:extLst>
                <a:ext uri="{FF2B5EF4-FFF2-40B4-BE49-F238E27FC236}">
                  <a16:creationId xmlns:a16="http://schemas.microsoft.com/office/drawing/2014/main" id="{4DF64F27-37B5-4961-A0DF-890CBEBA3158}"/>
                </a:ext>
              </a:extLst>
            </p:cNvPr>
            <p:cNvSpPr/>
            <p:nvPr/>
          </p:nvSpPr>
          <p:spPr>
            <a:xfrm>
              <a:off x="10252854" y="3618810"/>
              <a:ext cx="106933" cy="18657"/>
            </a:xfrm>
            <a:custGeom>
              <a:avLst/>
              <a:gdLst>
                <a:gd name="connsiteX0" fmla="*/ 0 w 106933"/>
                <a:gd name="connsiteY0" fmla="*/ 0 h 18657"/>
                <a:gd name="connsiteX1" fmla="*/ 106934 w 106933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2" name="Freeform: Shape 1321">
              <a:extLst>
                <a:ext uri="{FF2B5EF4-FFF2-40B4-BE49-F238E27FC236}">
                  <a16:creationId xmlns:a16="http://schemas.microsoft.com/office/drawing/2014/main" id="{6DBF02A2-045C-4EC4-8408-839AD5DCE7D3}"/>
                </a:ext>
              </a:extLst>
            </p:cNvPr>
            <p:cNvSpPr/>
            <p:nvPr/>
          </p:nvSpPr>
          <p:spPr>
            <a:xfrm>
              <a:off x="4096073" y="4198872"/>
              <a:ext cx="106933" cy="90782"/>
            </a:xfrm>
            <a:custGeom>
              <a:avLst/>
              <a:gdLst>
                <a:gd name="connsiteX0" fmla="*/ 106934 w 106933"/>
                <a:gd name="connsiteY0" fmla="*/ 0 h 90782"/>
                <a:gd name="connsiteX1" fmla="*/ 0 w 106933"/>
                <a:gd name="connsiteY1" fmla="*/ 90782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90782">
                  <a:moveTo>
                    <a:pt x="106934" y="0"/>
                  </a:moveTo>
                  <a:lnTo>
                    <a:pt x="0" y="907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3" name="Freeform: Shape 1322">
              <a:extLst>
                <a:ext uri="{FF2B5EF4-FFF2-40B4-BE49-F238E27FC236}">
                  <a16:creationId xmlns:a16="http://schemas.microsoft.com/office/drawing/2014/main" id="{172D84A2-E330-4EB9-BCC4-600A09052E55}"/>
                </a:ext>
              </a:extLst>
            </p:cNvPr>
            <p:cNvSpPr/>
            <p:nvPr/>
          </p:nvSpPr>
          <p:spPr>
            <a:xfrm>
              <a:off x="2954608" y="3618810"/>
              <a:ext cx="106934" cy="18657"/>
            </a:xfrm>
            <a:custGeom>
              <a:avLst/>
              <a:gdLst>
                <a:gd name="connsiteX0" fmla="*/ 0 w 106934"/>
                <a:gd name="connsiteY0" fmla="*/ 0 h 18657"/>
                <a:gd name="connsiteX1" fmla="*/ 106934 w 106934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4" name="Freeform: Shape 1323">
              <a:extLst>
                <a:ext uri="{FF2B5EF4-FFF2-40B4-BE49-F238E27FC236}">
                  <a16:creationId xmlns:a16="http://schemas.microsoft.com/office/drawing/2014/main" id="{A8E98418-9149-42B3-BCB8-C87468C789F5}"/>
                </a:ext>
              </a:extLst>
            </p:cNvPr>
            <p:cNvSpPr/>
            <p:nvPr/>
          </p:nvSpPr>
          <p:spPr>
            <a:xfrm>
              <a:off x="5234753" y="4198872"/>
              <a:ext cx="106934" cy="90782"/>
            </a:xfrm>
            <a:custGeom>
              <a:avLst/>
              <a:gdLst>
                <a:gd name="connsiteX0" fmla="*/ 106934 w 106934"/>
                <a:gd name="connsiteY0" fmla="*/ 0 h 90782"/>
                <a:gd name="connsiteX1" fmla="*/ 0 w 106934"/>
                <a:gd name="connsiteY1" fmla="*/ 90782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90782">
                  <a:moveTo>
                    <a:pt x="106934" y="0"/>
                  </a:moveTo>
                  <a:lnTo>
                    <a:pt x="0" y="907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5" name="Freeform: Shape 1324">
              <a:extLst>
                <a:ext uri="{FF2B5EF4-FFF2-40B4-BE49-F238E27FC236}">
                  <a16:creationId xmlns:a16="http://schemas.microsoft.com/office/drawing/2014/main" id="{82F8FB49-EA91-4092-9BC2-BC4D79E4F19D}"/>
                </a:ext>
              </a:extLst>
            </p:cNvPr>
            <p:cNvSpPr/>
            <p:nvPr/>
          </p:nvSpPr>
          <p:spPr>
            <a:xfrm>
              <a:off x="7058200" y="3059913"/>
              <a:ext cx="101364" cy="106934"/>
            </a:xfrm>
            <a:custGeom>
              <a:avLst/>
              <a:gdLst>
                <a:gd name="connsiteX0" fmla="*/ 101365 w 101364"/>
                <a:gd name="connsiteY0" fmla="*/ 0 h 106934"/>
                <a:gd name="connsiteX1" fmla="*/ 0 w 101364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106934">
                  <a:moveTo>
                    <a:pt x="10136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6" name="Freeform: Shape 1325">
              <a:extLst>
                <a:ext uri="{FF2B5EF4-FFF2-40B4-BE49-F238E27FC236}">
                  <a16:creationId xmlns:a16="http://schemas.microsoft.com/office/drawing/2014/main" id="{A713D247-CB91-484A-88BC-36B52A54D817}"/>
                </a:ext>
              </a:extLst>
            </p:cNvPr>
            <p:cNvSpPr/>
            <p:nvPr/>
          </p:nvSpPr>
          <p:spPr>
            <a:xfrm>
              <a:off x="9113895" y="1819590"/>
              <a:ext cx="106933" cy="16151"/>
            </a:xfrm>
            <a:custGeom>
              <a:avLst/>
              <a:gdLst>
                <a:gd name="connsiteX0" fmla="*/ 106934 w 106933"/>
                <a:gd name="connsiteY0" fmla="*/ 16151 h 16151"/>
                <a:gd name="connsiteX1" fmla="*/ 0 w 106933"/>
                <a:gd name="connsiteY1" fmla="*/ 0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6151">
                  <a:moveTo>
                    <a:pt x="106934" y="1615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7" name="Freeform: Shape 1326">
              <a:extLst>
                <a:ext uri="{FF2B5EF4-FFF2-40B4-BE49-F238E27FC236}">
                  <a16:creationId xmlns:a16="http://schemas.microsoft.com/office/drawing/2014/main" id="{039A082E-CC23-4FA3-A4A2-C65708F0001B}"/>
                </a:ext>
              </a:extLst>
            </p:cNvPr>
            <p:cNvSpPr/>
            <p:nvPr/>
          </p:nvSpPr>
          <p:spPr>
            <a:xfrm>
              <a:off x="3181843" y="5540838"/>
              <a:ext cx="106934" cy="101643"/>
            </a:xfrm>
            <a:custGeom>
              <a:avLst/>
              <a:gdLst>
                <a:gd name="connsiteX0" fmla="*/ 106934 w 106934"/>
                <a:gd name="connsiteY0" fmla="*/ 0 h 101643"/>
                <a:gd name="connsiteX1" fmla="*/ 0 w 106934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1643">
                  <a:moveTo>
                    <a:pt x="106934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9" name="Freeform: Shape 1328">
              <a:extLst>
                <a:ext uri="{FF2B5EF4-FFF2-40B4-BE49-F238E27FC236}">
                  <a16:creationId xmlns:a16="http://schemas.microsoft.com/office/drawing/2014/main" id="{54F930A7-1751-41FB-BE34-EA855FB39FFE}"/>
                </a:ext>
              </a:extLst>
            </p:cNvPr>
            <p:cNvSpPr/>
            <p:nvPr/>
          </p:nvSpPr>
          <p:spPr>
            <a:xfrm>
              <a:off x="6376496" y="1143177"/>
              <a:ext cx="106933" cy="16151"/>
            </a:xfrm>
            <a:custGeom>
              <a:avLst/>
              <a:gdLst>
                <a:gd name="connsiteX0" fmla="*/ 0 w 106933"/>
                <a:gd name="connsiteY0" fmla="*/ 0 h 16151"/>
                <a:gd name="connsiteX1" fmla="*/ 106934 w 106933"/>
                <a:gd name="connsiteY1" fmla="*/ 16152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6151">
                  <a:moveTo>
                    <a:pt x="0" y="0"/>
                  </a:moveTo>
                  <a:lnTo>
                    <a:pt x="106934" y="161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0" name="Freeform: Shape 1329">
              <a:extLst>
                <a:ext uri="{FF2B5EF4-FFF2-40B4-BE49-F238E27FC236}">
                  <a16:creationId xmlns:a16="http://schemas.microsoft.com/office/drawing/2014/main" id="{33851539-BB92-4EC3-90B0-534F2A2D2392}"/>
                </a:ext>
              </a:extLst>
            </p:cNvPr>
            <p:cNvSpPr/>
            <p:nvPr/>
          </p:nvSpPr>
          <p:spPr>
            <a:xfrm>
              <a:off x="4547758" y="2391575"/>
              <a:ext cx="104427" cy="104427"/>
            </a:xfrm>
            <a:custGeom>
              <a:avLst/>
              <a:gdLst>
                <a:gd name="connsiteX0" fmla="*/ 104428 w 104427"/>
                <a:gd name="connsiteY0" fmla="*/ 0 h 104427"/>
                <a:gd name="connsiteX1" fmla="*/ 0 w 104427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427">
                  <a:moveTo>
                    <a:pt x="104428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1" name="Freeform: Shape 1330">
              <a:extLst>
                <a:ext uri="{FF2B5EF4-FFF2-40B4-BE49-F238E27FC236}">
                  <a16:creationId xmlns:a16="http://schemas.microsoft.com/office/drawing/2014/main" id="{0116F5C2-AED2-4962-8B50-68CBAE9EA203}"/>
                </a:ext>
              </a:extLst>
            </p:cNvPr>
            <p:cNvSpPr/>
            <p:nvPr/>
          </p:nvSpPr>
          <p:spPr>
            <a:xfrm>
              <a:off x="10028125" y="4519674"/>
              <a:ext cx="106934" cy="10582"/>
            </a:xfrm>
            <a:custGeom>
              <a:avLst/>
              <a:gdLst>
                <a:gd name="connsiteX0" fmla="*/ 106934 w 106934"/>
                <a:gd name="connsiteY0" fmla="*/ 10582 h 10582"/>
                <a:gd name="connsiteX1" fmla="*/ 0 w 106934"/>
                <a:gd name="connsiteY1" fmla="*/ 0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582">
                  <a:moveTo>
                    <a:pt x="106934" y="1058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2" name="Freeform: Shape 1331">
              <a:extLst>
                <a:ext uri="{FF2B5EF4-FFF2-40B4-BE49-F238E27FC236}">
                  <a16:creationId xmlns:a16="http://schemas.microsoft.com/office/drawing/2014/main" id="{7F2E97A7-6E76-476E-B9AA-28E46B3BA84D}"/>
                </a:ext>
              </a:extLst>
            </p:cNvPr>
            <p:cNvSpPr/>
            <p:nvPr/>
          </p:nvSpPr>
          <p:spPr>
            <a:xfrm>
              <a:off x="2500139" y="4070495"/>
              <a:ext cx="106934" cy="18657"/>
            </a:xfrm>
            <a:custGeom>
              <a:avLst/>
              <a:gdLst>
                <a:gd name="connsiteX0" fmla="*/ 106934 w 106934"/>
                <a:gd name="connsiteY0" fmla="*/ 18658 h 18657"/>
                <a:gd name="connsiteX1" fmla="*/ 0 w 106934"/>
                <a:gd name="connsiteY1" fmla="*/ 0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8657">
                  <a:moveTo>
                    <a:pt x="106934" y="1865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3" name="Freeform: Shape 1332">
              <a:extLst>
                <a:ext uri="{FF2B5EF4-FFF2-40B4-BE49-F238E27FC236}">
                  <a16:creationId xmlns:a16="http://schemas.microsoft.com/office/drawing/2014/main" id="{FE540919-84FD-412F-BF7B-289B4A7B1548}"/>
                </a:ext>
              </a:extLst>
            </p:cNvPr>
            <p:cNvSpPr/>
            <p:nvPr/>
          </p:nvSpPr>
          <p:spPr>
            <a:xfrm>
              <a:off x="7515176" y="1592355"/>
              <a:ext cx="106934" cy="18657"/>
            </a:xfrm>
            <a:custGeom>
              <a:avLst/>
              <a:gdLst>
                <a:gd name="connsiteX0" fmla="*/ 0 w 106934"/>
                <a:gd name="connsiteY0" fmla="*/ 0 h 18657"/>
                <a:gd name="connsiteX1" fmla="*/ 106934 w 106934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4" name="Freeform: Shape 1333">
              <a:extLst>
                <a:ext uri="{FF2B5EF4-FFF2-40B4-BE49-F238E27FC236}">
                  <a16:creationId xmlns:a16="http://schemas.microsoft.com/office/drawing/2014/main" id="{DDDA3570-3B05-4288-B030-20E141084ED5}"/>
                </a:ext>
              </a:extLst>
            </p:cNvPr>
            <p:cNvSpPr/>
            <p:nvPr/>
          </p:nvSpPr>
          <p:spPr>
            <a:xfrm>
              <a:off x="4550542" y="2626886"/>
              <a:ext cx="106934" cy="91060"/>
            </a:xfrm>
            <a:custGeom>
              <a:avLst/>
              <a:gdLst>
                <a:gd name="connsiteX0" fmla="*/ 106934 w 106934"/>
                <a:gd name="connsiteY0" fmla="*/ 0 h 91060"/>
                <a:gd name="connsiteX1" fmla="*/ 0 w 106934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91060">
                  <a:moveTo>
                    <a:pt x="106934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6" name="Freeform: Shape 1335">
              <a:extLst>
                <a:ext uri="{FF2B5EF4-FFF2-40B4-BE49-F238E27FC236}">
                  <a16:creationId xmlns:a16="http://schemas.microsoft.com/office/drawing/2014/main" id="{0FDFA028-5F70-4A05-BDA0-B803670D962D}"/>
                </a:ext>
              </a:extLst>
            </p:cNvPr>
            <p:cNvSpPr/>
            <p:nvPr/>
          </p:nvSpPr>
          <p:spPr>
            <a:xfrm>
              <a:off x="10252854" y="3843260"/>
              <a:ext cx="106933" cy="18657"/>
            </a:xfrm>
            <a:custGeom>
              <a:avLst/>
              <a:gdLst>
                <a:gd name="connsiteX0" fmla="*/ 0 w 106933"/>
                <a:gd name="connsiteY0" fmla="*/ 0 h 18657"/>
                <a:gd name="connsiteX1" fmla="*/ 106934 w 106933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7" name="Freeform: Shape 1336">
              <a:extLst>
                <a:ext uri="{FF2B5EF4-FFF2-40B4-BE49-F238E27FC236}">
                  <a16:creationId xmlns:a16="http://schemas.microsoft.com/office/drawing/2014/main" id="{E1EBA197-249F-4098-9FCE-1642D8C24E75}"/>
                </a:ext>
              </a:extLst>
            </p:cNvPr>
            <p:cNvSpPr/>
            <p:nvPr/>
          </p:nvSpPr>
          <p:spPr>
            <a:xfrm>
              <a:off x="2045669" y="4968852"/>
              <a:ext cx="106933" cy="18657"/>
            </a:xfrm>
            <a:custGeom>
              <a:avLst/>
              <a:gdLst>
                <a:gd name="connsiteX0" fmla="*/ 106934 w 106933"/>
                <a:gd name="connsiteY0" fmla="*/ 18658 h 18657"/>
                <a:gd name="connsiteX1" fmla="*/ 0 w 106933"/>
                <a:gd name="connsiteY1" fmla="*/ 0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8657">
                  <a:moveTo>
                    <a:pt x="106934" y="1865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8" name="Freeform: Shape 1337">
              <a:extLst>
                <a:ext uri="{FF2B5EF4-FFF2-40B4-BE49-F238E27FC236}">
                  <a16:creationId xmlns:a16="http://schemas.microsoft.com/office/drawing/2014/main" id="{B0549858-6DFE-4F90-9882-6C39A625F045}"/>
                </a:ext>
              </a:extLst>
            </p:cNvPr>
            <p:cNvSpPr/>
            <p:nvPr/>
          </p:nvSpPr>
          <p:spPr>
            <a:xfrm>
              <a:off x="10252854" y="3394082"/>
              <a:ext cx="106933" cy="21442"/>
            </a:xfrm>
            <a:custGeom>
              <a:avLst/>
              <a:gdLst>
                <a:gd name="connsiteX0" fmla="*/ 0 w 106933"/>
                <a:gd name="connsiteY0" fmla="*/ 0 h 21442"/>
                <a:gd name="connsiteX1" fmla="*/ 106934 w 106933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21442">
                  <a:moveTo>
                    <a:pt x="0" y="0"/>
                  </a:moveTo>
                  <a:lnTo>
                    <a:pt x="106934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9" name="Freeform: Shape 1338">
              <a:extLst>
                <a:ext uri="{FF2B5EF4-FFF2-40B4-BE49-F238E27FC236}">
                  <a16:creationId xmlns:a16="http://schemas.microsoft.com/office/drawing/2014/main" id="{D53799CB-B32D-4533-878C-1C8C4188FE39}"/>
                </a:ext>
              </a:extLst>
            </p:cNvPr>
            <p:cNvSpPr/>
            <p:nvPr/>
          </p:nvSpPr>
          <p:spPr>
            <a:xfrm>
              <a:off x="9798384" y="4968852"/>
              <a:ext cx="106934" cy="15873"/>
            </a:xfrm>
            <a:custGeom>
              <a:avLst/>
              <a:gdLst>
                <a:gd name="connsiteX0" fmla="*/ 106934 w 106934"/>
                <a:gd name="connsiteY0" fmla="*/ 15873 h 15873"/>
                <a:gd name="connsiteX1" fmla="*/ 0 w 106934"/>
                <a:gd name="connsiteY1" fmla="*/ 0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5873">
                  <a:moveTo>
                    <a:pt x="106934" y="15873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0" name="Freeform: Shape 1339">
              <a:extLst>
                <a:ext uri="{FF2B5EF4-FFF2-40B4-BE49-F238E27FC236}">
                  <a16:creationId xmlns:a16="http://schemas.microsoft.com/office/drawing/2014/main" id="{A83E91F6-F33E-4D53-B7B1-59B23CFDD231}"/>
                </a:ext>
              </a:extLst>
            </p:cNvPr>
            <p:cNvSpPr/>
            <p:nvPr/>
          </p:nvSpPr>
          <p:spPr>
            <a:xfrm>
              <a:off x="9108604" y="4193581"/>
              <a:ext cx="104149" cy="98858"/>
            </a:xfrm>
            <a:custGeom>
              <a:avLst/>
              <a:gdLst>
                <a:gd name="connsiteX0" fmla="*/ 104149 w 104149"/>
                <a:gd name="connsiteY0" fmla="*/ 0 h 98858"/>
                <a:gd name="connsiteX1" fmla="*/ 0 w 104149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98858">
                  <a:moveTo>
                    <a:pt x="10414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1" name="Freeform: Shape 1340">
              <a:extLst>
                <a:ext uri="{FF2B5EF4-FFF2-40B4-BE49-F238E27FC236}">
                  <a16:creationId xmlns:a16="http://schemas.microsoft.com/office/drawing/2014/main" id="{ABE952E0-1F21-4CB9-848D-65072B5DA5CD}"/>
                </a:ext>
              </a:extLst>
            </p:cNvPr>
            <p:cNvSpPr/>
            <p:nvPr/>
          </p:nvSpPr>
          <p:spPr>
            <a:xfrm>
              <a:off x="2732664" y="3394082"/>
              <a:ext cx="104149" cy="13366"/>
            </a:xfrm>
            <a:custGeom>
              <a:avLst/>
              <a:gdLst>
                <a:gd name="connsiteX0" fmla="*/ 0 w 104149"/>
                <a:gd name="connsiteY0" fmla="*/ 0 h 13366"/>
                <a:gd name="connsiteX1" fmla="*/ 104149 w 104149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3366">
                  <a:moveTo>
                    <a:pt x="0" y="0"/>
                  </a:moveTo>
                  <a:lnTo>
                    <a:pt x="104149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2" name="Freeform: Shape 1341">
              <a:extLst>
                <a:ext uri="{FF2B5EF4-FFF2-40B4-BE49-F238E27FC236}">
                  <a16:creationId xmlns:a16="http://schemas.microsoft.com/office/drawing/2014/main" id="{7F97AE09-ADDA-4373-8E04-C8B68B3AEF55}"/>
                </a:ext>
              </a:extLst>
            </p:cNvPr>
            <p:cNvSpPr/>
            <p:nvPr/>
          </p:nvSpPr>
          <p:spPr>
            <a:xfrm>
              <a:off x="8891951" y="5645265"/>
              <a:ext cx="104427" cy="13366"/>
            </a:xfrm>
            <a:custGeom>
              <a:avLst/>
              <a:gdLst>
                <a:gd name="connsiteX0" fmla="*/ 0 w 104427"/>
                <a:gd name="connsiteY0" fmla="*/ 0 h 13366"/>
                <a:gd name="connsiteX1" fmla="*/ 104428 w 104427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3366">
                  <a:moveTo>
                    <a:pt x="0" y="0"/>
                  </a:moveTo>
                  <a:lnTo>
                    <a:pt x="104428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3" name="Freeform: Shape 1342">
              <a:extLst>
                <a:ext uri="{FF2B5EF4-FFF2-40B4-BE49-F238E27FC236}">
                  <a16:creationId xmlns:a16="http://schemas.microsoft.com/office/drawing/2014/main" id="{F836FE36-5EBC-4592-9994-2DE43EEC8763}"/>
                </a:ext>
              </a:extLst>
            </p:cNvPr>
            <p:cNvSpPr/>
            <p:nvPr/>
          </p:nvSpPr>
          <p:spPr>
            <a:xfrm>
              <a:off x="9346421" y="5418031"/>
              <a:ext cx="104427" cy="18657"/>
            </a:xfrm>
            <a:custGeom>
              <a:avLst/>
              <a:gdLst>
                <a:gd name="connsiteX0" fmla="*/ 0 w 104427"/>
                <a:gd name="connsiteY0" fmla="*/ 0 h 18657"/>
                <a:gd name="connsiteX1" fmla="*/ 104428 w 104427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8657">
                  <a:moveTo>
                    <a:pt x="0" y="0"/>
                  </a:moveTo>
                  <a:lnTo>
                    <a:pt x="104428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4" name="Freeform: Shape 1343">
              <a:extLst>
                <a:ext uri="{FF2B5EF4-FFF2-40B4-BE49-F238E27FC236}">
                  <a16:creationId xmlns:a16="http://schemas.microsoft.com/office/drawing/2014/main" id="{006B4D79-445F-4FBE-8D6D-7AD7A82B0FA6}"/>
                </a:ext>
              </a:extLst>
            </p:cNvPr>
            <p:cNvSpPr/>
            <p:nvPr/>
          </p:nvSpPr>
          <p:spPr>
            <a:xfrm>
              <a:off x="3192425" y="3621316"/>
              <a:ext cx="104149" cy="5569"/>
            </a:xfrm>
            <a:custGeom>
              <a:avLst/>
              <a:gdLst>
                <a:gd name="connsiteX0" fmla="*/ 0 w 104149"/>
                <a:gd name="connsiteY0" fmla="*/ 0 h 5569"/>
                <a:gd name="connsiteX1" fmla="*/ 104149 w 104149"/>
                <a:gd name="connsiteY1" fmla="*/ 5569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5569">
                  <a:moveTo>
                    <a:pt x="0" y="0"/>
                  </a:moveTo>
                  <a:lnTo>
                    <a:pt x="104149" y="556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5" name="Freeform: Shape 1344">
              <a:extLst>
                <a:ext uri="{FF2B5EF4-FFF2-40B4-BE49-F238E27FC236}">
                  <a16:creationId xmlns:a16="http://schemas.microsoft.com/office/drawing/2014/main" id="{60E45EAA-1091-4B6A-9A6F-D5A31B2A151B}"/>
                </a:ext>
              </a:extLst>
            </p:cNvPr>
            <p:cNvSpPr/>
            <p:nvPr/>
          </p:nvSpPr>
          <p:spPr>
            <a:xfrm>
              <a:off x="3638819" y="365399"/>
              <a:ext cx="104427" cy="98858"/>
            </a:xfrm>
            <a:custGeom>
              <a:avLst/>
              <a:gdLst>
                <a:gd name="connsiteX0" fmla="*/ 104428 w 104427"/>
                <a:gd name="connsiteY0" fmla="*/ 0 h 98858"/>
                <a:gd name="connsiteX1" fmla="*/ 0 w 104427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98858">
                  <a:moveTo>
                    <a:pt x="104428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6" name="Freeform: Shape 1345">
              <a:extLst>
                <a:ext uri="{FF2B5EF4-FFF2-40B4-BE49-F238E27FC236}">
                  <a16:creationId xmlns:a16="http://schemas.microsoft.com/office/drawing/2014/main" id="{34843272-3436-4795-8FBD-D59990C8FE5E}"/>
                </a:ext>
              </a:extLst>
            </p:cNvPr>
            <p:cNvSpPr/>
            <p:nvPr/>
          </p:nvSpPr>
          <p:spPr>
            <a:xfrm>
              <a:off x="2045669" y="5193302"/>
              <a:ext cx="104149" cy="16151"/>
            </a:xfrm>
            <a:custGeom>
              <a:avLst/>
              <a:gdLst>
                <a:gd name="connsiteX0" fmla="*/ 104149 w 104149"/>
                <a:gd name="connsiteY0" fmla="*/ 16151 h 16151"/>
                <a:gd name="connsiteX1" fmla="*/ 0 w 104149"/>
                <a:gd name="connsiteY1" fmla="*/ 0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6151">
                  <a:moveTo>
                    <a:pt x="104149" y="1615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7" name="Freeform: Shape 1346">
              <a:extLst>
                <a:ext uri="{FF2B5EF4-FFF2-40B4-BE49-F238E27FC236}">
                  <a16:creationId xmlns:a16="http://schemas.microsoft.com/office/drawing/2014/main" id="{ED084B89-3881-42BE-AD5F-F2E0F883AE74}"/>
                </a:ext>
              </a:extLst>
            </p:cNvPr>
            <p:cNvSpPr/>
            <p:nvPr/>
          </p:nvSpPr>
          <p:spPr>
            <a:xfrm>
              <a:off x="4777777" y="2161834"/>
              <a:ext cx="104149" cy="104149"/>
            </a:xfrm>
            <a:custGeom>
              <a:avLst/>
              <a:gdLst>
                <a:gd name="connsiteX0" fmla="*/ 104149 w 104149"/>
                <a:gd name="connsiteY0" fmla="*/ 0 h 104149"/>
                <a:gd name="connsiteX1" fmla="*/ 0 w 104149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4149">
                  <a:moveTo>
                    <a:pt x="104149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8" name="Freeform: Shape 1347">
              <a:extLst>
                <a:ext uri="{FF2B5EF4-FFF2-40B4-BE49-F238E27FC236}">
                  <a16:creationId xmlns:a16="http://schemas.microsoft.com/office/drawing/2014/main" id="{335D0946-9547-46A3-BD9F-2DE0EAF62FB7}"/>
                </a:ext>
              </a:extLst>
            </p:cNvPr>
            <p:cNvSpPr/>
            <p:nvPr/>
          </p:nvSpPr>
          <p:spPr>
            <a:xfrm>
              <a:off x="5461988" y="4412740"/>
              <a:ext cx="104427" cy="104149"/>
            </a:xfrm>
            <a:custGeom>
              <a:avLst/>
              <a:gdLst>
                <a:gd name="connsiteX0" fmla="*/ 104428 w 104427"/>
                <a:gd name="connsiteY0" fmla="*/ 0 h 104149"/>
                <a:gd name="connsiteX1" fmla="*/ 0 w 104427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149">
                  <a:moveTo>
                    <a:pt x="104428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9" name="Freeform: Shape 1348">
              <a:extLst>
                <a:ext uri="{FF2B5EF4-FFF2-40B4-BE49-F238E27FC236}">
                  <a16:creationId xmlns:a16="http://schemas.microsoft.com/office/drawing/2014/main" id="{CE358ADC-25DB-4B9E-8116-90EA29228801}"/>
                </a:ext>
              </a:extLst>
            </p:cNvPr>
            <p:cNvSpPr/>
            <p:nvPr/>
          </p:nvSpPr>
          <p:spPr>
            <a:xfrm>
              <a:off x="9568365" y="5193302"/>
              <a:ext cx="104149" cy="16151"/>
            </a:xfrm>
            <a:custGeom>
              <a:avLst/>
              <a:gdLst>
                <a:gd name="connsiteX0" fmla="*/ 104149 w 104149"/>
                <a:gd name="connsiteY0" fmla="*/ 16151 h 16151"/>
                <a:gd name="connsiteX1" fmla="*/ 0 w 104149"/>
                <a:gd name="connsiteY1" fmla="*/ 0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6151">
                  <a:moveTo>
                    <a:pt x="104149" y="1615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0" name="Freeform: Shape 1349">
              <a:extLst>
                <a:ext uri="{FF2B5EF4-FFF2-40B4-BE49-F238E27FC236}">
                  <a16:creationId xmlns:a16="http://schemas.microsoft.com/office/drawing/2014/main" id="{DFCBAAC7-6421-4392-ABBA-35F1038E9A57}"/>
                </a:ext>
              </a:extLst>
            </p:cNvPr>
            <p:cNvSpPr/>
            <p:nvPr/>
          </p:nvSpPr>
          <p:spPr>
            <a:xfrm>
              <a:off x="7515176" y="4648050"/>
              <a:ext cx="104427" cy="93567"/>
            </a:xfrm>
            <a:custGeom>
              <a:avLst/>
              <a:gdLst>
                <a:gd name="connsiteX0" fmla="*/ 104428 w 104427"/>
                <a:gd name="connsiteY0" fmla="*/ 0 h 93567"/>
                <a:gd name="connsiteX1" fmla="*/ 0 w 104427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93567">
                  <a:moveTo>
                    <a:pt x="104428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1" name="Freeform: Shape 1350">
              <a:extLst>
                <a:ext uri="{FF2B5EF4-FFF2-40B4-BE49-F238E27FC236}">
                  <a16:creationId xmlns:a16="http://schemas.microsoft.com/office/drawing/2014/main" id="{57B75085-2E47-4DF8-A190-8008CFEC3B27}"/>
                </a:ext>
              </a:extLst>
            </p:cNvPr>
            <p:cNvSpPr/>
            <p:nvPr/>
          </p:nvSpPr>
          <p:spPr>
            <a:xfrm>
              <a:off x="2270119" y="4519674"/>
              <a:ext cx="104149" cy="16151"/>
            </a:xfrm>
            <a:custGeom>
              <a:avLst/>
              <a:gdLst>
                <a:gd name="connsiteX0" fmla="*/ 104149 w 104149"/>
                <a:gd name="connsiteY0" fmla="*/ 16151 h 16151"/>
                <a:gd name="connsiteX1" fmla="*/ 0 w 104149"/>
                <a:gd name="connsiteY1" fmla="*/ 0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6151">
                  <a:moveTo>
                    <a:pt x="104149" y="1615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2" name="Freeform: Shape 1351">
              <a:extLst>
                <a:ext uri="{FF2B5EF4-FFF2-40B4-BE49-F238E27FC236}">
                  <a16:creationId xmlns:a16="http://schemas.microsoft.com/office/drawing/2014/main" id="{2A507CD8-1476-43D8-BC18-B84F1272C5C1}"/>
                </a:ext>
              </a:extLst>
            </p:cNvPr>
            <p:cNvSpPr/>
            <p:nvPr/>
          </p:nvSpPr>
          <p:spPr>
            <a:xfrm>
              <a:off x="8199665" y="2397145"/>
              <a:ext cx="104149" cy="93567"/>
            </a:xfrm>
            <a:custGeom>
              <a:avLst/>
              <a:gdLst>
                <a:gd name="connsiteX0" fmla="*/ 104149 w 104149"/>
                <a:gd name="connsiteY0" fmla="*/ 0 h 93567"/>
                <a:gd name="connsiteX1" fmla="*/ 0 w 10414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93567">
                  <a:moveTo>
                    <a:pt x="10414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3" name="Freeform: Shape 1352">
              <a:extLst>
                <a:ext uri="{FF2B5EF4-FFF2-40B4-BE49-F238E27FC236}">
                  <a16:creationId xmlns:a16="http://schemas.microsoft.com/office/drawing/2014/main" id="{C0E38A74-1249-4E7C-98B2-1C3214913763}"/>
                </a:ext>
              </a:extLst>
            </p:cNvPr>
            <p:cNvSpPr/>
            <p:nvPr/>
          </p:nvSpPr>
          <p:spPr>
            <a:xfrm>
              <a:off x="5007518" y="2167125"/>
              <a:ext cx="104427" cy="98858"/>
            </a:xfrm>
            <a:custGeom>
              <a:avLst/>
              <a:gdLst>
                <a:gd name="connsiteX0" fmla="*/ 104428 w 104427"/>
                <a:gd name="connsiteY0" fmla="*/ 0 h 98858"/>
                <a:gd name="connsiteX1" fmla="*/ 0 w 104427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98858">
                  <a:moveTo>
                    <a:pt x="104428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4" name="Freeform: Shape 1353">
              <a:extLst>
                <a:ext uri="{FF2B5EF4-FFF2-40B4-BE49-F238E27FC236}">
                  <a16:creationId xmlns:a16="http://schemas.microsoft.com/office/drawing/2014/main" id="{CBE2B935-9596-4577-8626-FC7B5CFEDA5A}"/>
                </a:ext>
              </a:extLst>
            </p:cNvPr>
            <p:cNvSpPr/>
            <p:nvPr/>
          </p:nvSpPr>
          <p:spPr>
            <a:xfrm>
              <a:off x="9343915" y="2044040"/>
              <a:ext cx="104149" cy="10860"/>
            </a:xfrm>
            <a:custGeom>
              <a:avLst/>
              <a:gdLst>
                <a:gd name="connsiteX0" fmla="*/ 104149 w 104149"/>
                <a:gd name="connsiteY0" fmla="*/ 10861 h 10860"/>
                <a:gd name="connsiteX1" fmla="*/ 0 w 104149"/>
                <a:gd name="connsiteY1" fmla="*/ 0 h 1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860">
                  <a:moveTo>
                    <a:pt x="104149" y="1086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5" name="Freeform: Shape 1354">
              <a:extLst>
                <a:ext uri="{FF2B5EF4-FFF2-40B4-BE49-F238E27FC236}">
                  <a16:creationId xmlns:a16="http://schemas.microsoft.com/office/drawing/2014/main" id="{10CD58DA-DA0A-4828-9DF1-8DD735C6AD11}"/>
                </a:ext>
              </a:extLst>
            </p:cNvPr>
            <p:cNvSpPr/>
            <p:nvPr/>
          </p:nvSpPr>
          <p:spPr>
            <a:xfrm>
              <a:off x="8429406" y="1595140"/>
              <a:ext cx="104427" cy="15873"/>
            </a:xfrm>
            <a:custGeom>
              <a:avLst/>
              <a:gdLst>
                <a:gd name="connsiteX0" fmla="*/ 104428 w 104427"/>
                <a:gd name="connsiteY0" fmla="*/ 15873 h 15873"/>
                <a:gd name="connsiteX1" fmla="*/ 0 w 104427"/>
                <a:gd name="connsiteY1" fmla="*/ 0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5873">
                  <a:moveTo>
                    <a:pt x="104428" y="15873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6" name="Freeform: Shape 1355">
              <a:extLst>
                <a:ext uri="{FF2B5EF4-FFF2-40B4-BE49-F238E27FC236}">
                  <a16:creationId xmlns:a16="http://schemas.microsoft.com/office/drawing/2014/main" id="{98F268D2-0F2C-460C-856C-E213AC3132C1}"/>
                </a:ext>
              </a:extLst>
            </p:cNvPr>
            <p:cNvSpPr/>
            <p:nvPr/>
          </p:nvSpPr>
          <p:spPr>
            <a:xfrm>
              <a:off x="7745196" y="1595140"/>
              <a:ext cx="104149" cy="15873"/>
            </a:xfrm>
            <a:custGeom>
              <a:avLst/>
              <a:gdLst>
                <a:gd name="connsiteX0" fmla="*/ 104149 w 104149"/>
                <a:gd name="connsiteY0" fmla="*/ 15873 h 15873"/>
                <a:gd name="connsiteX1" fmla="*/ 0 w 104149"/>
                <a:gd name="connsiteY1" fmla="*/ 0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5873">
                  <a:moveTo>
                    <a:pt x="104149" y="15873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7" name="Freeform: Shape 1356">
              <a:extLst>
                <a:ext uri="{FF2B5EF4-FFF2-40B4-BE49-F238E27FC236}">
                  <a16:creationId xmlns:a16="http://schemas.microsoft.com/office/drawing/2014/main" id="{C80F6234-A5B7-456C-B322-6460BA0FEEB7}"/>
                </a:ext>
              </a:extLst>
            </p:cNvPr>
            <p:cNvSpPr/>
            <p:nvPr/>
          </p:nvSpPr>
          <p:spPr>
            <a:xfrm>
              <a:off x="3638819" y="4637190"/>
              <a:ext cx="104427" cy="104427"/>
            </a:xfrm>
            <a:custGeom>
              <a:avLst/>
              <a:gdLst>
                <a:gd name="connsiteX0" fmla="*/ 104428 w 104427"/>
                <a:gd name="connsiteY0" fmla="*/ 0 h 104427"/>
                <a:gd name="connsiteX1" fmla="*/ 0 w 104427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427">
                  <a:moveTo>
                    <a:pt x="104428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8" name="Freeform: Shape 1357">
              <a:extLst>
                <a:ext uri="{FF2B5EF4-FFF2-40B4-BE49-F238E27FC236}">
                  <a16:creationId xmlns:a16="http://schemas.microsoft.com/office/drawing/2014/main" id="{C7F9B1BD-4A64-40DA-8D9B-FC3FD02D2C1C}"/>
                </a:ext>
              </a:extLst>
            </p:cNvPr>
            <p:cNvSpPr/>
            <p:nvPr/>
          </p:nvSpPr>
          <p:spPr>
            <a:xfrm>
              <a:off x="10028125" y="4744124"/>
              <a:ext cx="101642" cy="21442"/>
            </a:xfrm>
            <a:custGeom>
              <a:avLst/>
              <a:gdLst>
                <a:gd name="connsiteX0" fmla="*/ 101643 w 101642"/>
                <a:gd name="connsiteY0" fmla="*/ 21442 h 21442"/>
                <a:gd name="connsiteX1" fmla="*/ 0 w 101642"/>
                <a:gd name="connsiteY1" fmla="*/ 0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1442">
                  <a:moveTo>
                    <a:pt x="101643" y="2144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9" name="Freeform: Shape 1358">
              <a:extLst>
                <a:ext uri="{FF2B5EF4-FFF2-40B4-BE49-F238E27FC236}">
                  <a16:creationId xmlns:a16="http://schemas.microsoft.com/office/drawing/2014/main" id="{0C0BEB48-9EB6-4CCD-B3BB-7EC3B0B4636B}"/>
                </a:ext>
              </a:extLst>
            </p:cNvPr>
            <p:cNvSpPr/>
            <p:nvPr/>
          </p:nvSpPr>
          <p:spPr>
            <a:xfrm>
              <a:off x="9568365" y="2044040"/>
              <a:ext cx="101642" cy="21442"/>
            </a:xfrm>
            <a:custGeom>
              <a:avLst/>
              <a:gdLst>
                <a:gd name="connsiteX0" fmla="*/ 101643 w 101642"/>
                <a:gd name="connsiteY0" fmla="*/ 21442 h 21442"/>
                <a:gd name="connsiteX1" fmla="*/ 0 w 101642"/>
                <a:gd name="connsiteY1" fmla="*/ 0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1442">
                  <a:moveTo>
                    <a:pt x="101643" y="2144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0" name="Freeform: Shape 1359">
              <a:extLst>
                <a:ext uri="{FF2B5EF4-FFF2-40B4-BE49-F238E27FC236}">
                  <a16:creationId xmlns:a16="http://schemas.microsoft.com/office/drawing/2014/main" id="{E3947338-8B7C-49E6-BC14-F1548F8FDB84}"/>
                </a:ext>
              </a:extLst>
            </p:cNvPr>
            <p:cNvSpPr/>
            <p:nvPr/>
          </p:nvSpPr>
          <p:spPr>
            <a:xfrm>
              <a:off x="4780283" y="1493497"/>
              <a:ext cx="101642" cy="96073"/>
            </a:xfrm>
            <a:custGeom>
              <a:avLst/>
              <a:gdLst>
                <a:gd name="connsiteX0" fmla="*/ 101643 w 101642"/>
                <a:gd name="connsiteY0" fmla="*/ 0 h 96073"/>
                <a:gd name="connsiteX1" fmla="*/ 0 w 101642"/>
                <a:gd name="connsiteY1" fmla="*/ 96073 h 96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96073">
                  <a:moveTo>
                    <a:pt x="101643" y="0"/>
                  </a:moveTo>
                  <a:lnTo>
                    <a:pt x="0" y="960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1" name="Freeform: Shape 1360">
              <a:extLst>
                <a:ext uri="{FF2B5EF4-FFF2-40B4-BE49-F238E27FC236}">
                  <a16:creationId xmlns:a16="http://schemas.microsoft.com/office/drawing/2014/main" id="{F9657879-F1D6-4F37-8FDC-3E75719CE371}"/>
                </a:ext>
              </a:extLst>
            </p:cNvPr>
            <p:cNvSpPr/>
            <p:nvPr/>
          </p:nvSpPr>
          <p:spPr>
            <a:xfrm>
              <a:off x="1358395" y="1712656"/>
              <a:ext cx="101642" cy="101643"/>
            </a:xfrm>
            <a:custGeom>
              <a:avLst/>
              <a:gdLst>
                <a:gd name="connsiteX0" fmla="*/ 101643 w 101642"/>
                <a:gd name="connsiteY0" fmla="*/ 0 h 101643"/>
                <a:gd name="connsiteX1" fmla="*/ 0 w 101642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01643">
                  <a:moveTo>
                    <a:pt x="101643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2" name="Freeform: Shape 1361">
              <a:extLst>
                <a:ext uri="{FF2B5EF4-FFF2-40B4-BE49-F238E27FC236}">
                  <a16:creationId xmlns:a16="http://schemas.microsoft.com/office/drawing/2014/main" id="{379C76B7-1EEB-4E15-83FB-3D0B4F5D183E}"/>
                </a:ext>
              </a:extLst>
            </p:cNvPr>
            <p:cNvSpPr/>
            <p:nvPr/>
          </p:nvSpPr>
          <p:spPr>
            <a:xfrm>
              <a:off x="7060707" y="1367905"/>
              <a:ext cx="101642" cy="26733"/>
            </a:xfrm>
            <a:custGeom>
              <a:avLst/>
              <a:gdLst>
                <a:gd name="connsiteX0" fmla="*/ 0 w 101642"/>
                <a:gd name="connsiteY0" fmla="*/ 0 h 26733"/>
                <a:gd name="connsiteX1" fmla="*/ 101643 w 101642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6733">
                  <a:moveTo>
                    <a:pt x="0" y="0"/>
                  </a:moveTo>
                  <a:lnTo>
                    <a:pt x="101643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3" name="Freeform: Shape 1362">
              <a:extLst>
                <a:ext uri="{FF2B5EF4-FFF2-40B4-BE49-F238E27FC236}">
                  <a16:creationId xmlns:a16="http://schemas.microsoft.com/office/drawing/2014/main" id="{EA4BCE4A-0F85-4BC6-9A9E-5FE12F557A88}"/>
                </a:ext>
              </a:extLst>
            </p:cNvPr>
            <p:cNvSpPr/>
            <p:nvPr/>
          </p:nvSpPr>
          <p:spPr>
            <a:xfrm>
              <a:off x="2270119" y="4292439"/>
              <a:ext cx="101642" cy="23948"/>
            </a:xfrm>
            <a:custGeom>
              <a:avLst/>
              <a:gdLst>
                <a:gd name="connsiteX0" fmla="*/ 0 w 101642"/>
                <a:gd name="connsiteY0" fmla="*/ 0 h 23948"/>
                <a:gd name="connsiteX1" fmla="*/ 101643 w 101642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3948">
                  <a:moveTo>
                    <a:pt x="0" y="0"/>
                  </a:moveTo>
                  <a:lnTo>
                    <a:pt x="101643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4" name="Freeform: Shape 1363">
              <a:extLst>
                <a:ext uri="{FF2B5EF4-FFF2-40B4-BE49-F238E27FC236}">
                  <a16:creationId xmlns:a16="http://schemas.microsoft.com/office/drawing/2014/main" id="{19361813-4A3F-43F8-8511-B3345169D9E4}"/>
                </a:ext>
              </a:extLst>
            </p:cNvPr>
            <p:cNvSpPr/>
            <p:nvPr/>
          </p:nvSpPr>
          <p:spPr>
            <a:xfrm>
              <a:off x="3866053" y="4418031"/>
              <a:ext cx="101642" cy="96351"/>
            </a:xfrm>
            <a:custGeom>
              <a:avLst/>
              <a:gdLst>
                <a:gd name="connsiteX0" fmla="*/ 101643 w 101642"/>
                <a:gd name="connsiteY0" fmla="*/ 0 h 96351"/>
                <a:gd name="connsiteX1" fmla="*/ 0 w 101642"/>
                <a:gd name="connsiteY1" fmla="*/ 96352 h 96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96351">
                  <a:moveTo>
                    <a:pt x="101643" y="0"/>
                  </a:moveTo>
                  <a:lnTo>
                    <a:pt x="0" y="963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5" name="Freeform: Shape 1364">
              <a:extLst>
                <a:ext uri="{FF2B5EF4-FFF2-40B4-BE49-F238E27FC236}">
                  <a16:creationId xmlns:a16="http://schemas.microsoft.com/office/drawing/2014/main" id="{53527E55-330B-442F-895D-A7953B6F460C}"/>
                </a:ext>
              </a:extLst>
            </p:cNvPr>
            <p:cNvSpPr/>
            <p:nvPr/>
          </p:nvSpPr>
          <p:spPr>
            <a:xfrm>
              <a:off x="1815650" y="5645265"/>
              <a:ext cx="101642" cy="26733"/>
            </a:xfrm>
            <a:custGeom>
              <a:avLst/>
              <a:gdLst>
                <a:gd name="connsiteX0" fmla="*/ 0 w 101642"/>
                <a:gd name="connsiteY0" fmla="*/ 0 h 26733"/>
                <a:gd name="connsiteX1" fmla="*/ 101643 w 101642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6733">
                  <a:moveTo>
                    <a:pt x="0" y="0"/>
                  </a:moveTo>
                  <a:lnTo>
                    <a:pt x="101643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6" name="Freeform: Shape 1365">
              <a:extLst>
                <a:ext uri="{FF2B5EF4-FFF2-40B4-BE49-F238E27FC236}">
                  <a16:creationId xmlns:a16="http://schemas.microsoft.com/office/drawing/2014/main" id="{D00F8EF6-E8BE-4064-BC39-96A714D8548B}"/>
                </a:ext>
              </a:extLst>
            </p:cNvPr>
            <p:cNvSpPr/>
            <p:nvPr/>
          </p:nvSpPr>
          <p:spPr>
            <a:xfrm>
              <a:off x="2500139" y="3394082"/>
              <a:ext cx="101364" cy="24227"/>
            </a:xfrm>
            <a:custGeom>
              <a:avLst/>
              <a:gdLst>
                <a:gd name="connsiteX0" fmla="*/ 0 w 101364"/>
                <a:gd name="connsiteY0" fmla="*/ 0 h 24227"/>
                <a:gd name="connsiteX1" fmla="*/ 101365 w 101364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24227">
                  <a:moveTo>
                    <a:pt x="0" y="0"/>
                  </a:moveTo>
                  <a:lnTo>
                    <a:pt x="101365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7" name="Freeform: Shape 1366">
              <a:extLst>
                <a:ext uri="{FF2B5EF4-FFF2-40B4-BE49-F238E27FC236}">
                  <a16:creationId xmlns:a16="http://schemas.microsoft.com/office/drawing/2014/main" id="{3A27D0D4-6BF6-45B6-9897-542FB882D92B}"/>
                </a:ext>
              </a:extLst>
            </p:cNvPr>
            <p:cNvSpPr/>
            <p:nvPr/>
          </p:nvSpPr>
          <p:spPr>
            <a:xfrm>
              <a:off x="2270119" y="3169632"/>
              <a:ext cx="112225" cy="8075"/>
            </a:xfrm>
            <a:custGeom>
              <a:avLst/>
              <a:gdLst>
                <a:gd name="connsiteX0" fmla="*/ 0 w 112225"/>
                <a:gd name="connsiteY0" fmla="*/ 0 h 8075"/>
                <a:gd name="connsiteX1" fmla="*/ 112225 w 11222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075">
                  <a:moveTo>
                    <a:pt x="0" y="0"/>
                  </a:moveTo>
                  <a:lnTo>
                    <a:pt x="112225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8" name="Freeform: Shape 1367">
              <a:extLst>
                <a:ext uri="{FF2B5EF4-FFF2-40B4-BE49-F238E27FC236}">
                  <a16:creationId xmlns:a16="http://schemas.microsoft.com/office/drawing/2014/main" id="{E61ACC1D-844F-465D-9919-D277B94D4F78}"/>
                </a:ext>
              </a:extLst>
            </p:cNvPr>
            <p:cNvSpPr/>
            <p:nvPr/>
          </p:nvSpPr>
          <p:spPr>
            <a:xfrm>
              <a:off x="4320523" y="1039027"/>
              <a:ext cx="101642" cy="101643"/>
            </a:xfrm>
            <a:custGeom>
              <a:avLst/>
              <a:gdLst>
                <a:gd name="connsiteX0" fmla="*/ 101643 w 101642"/>
                <a:gd name="connsiteY0" fmla="*/ 0 h 101643"/>
                <a:gd name="connsiteX1" fmla="*/ 0 w 101642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01643">
                  <a:moveTo>
                    <a:pt x="101643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9" name="Freeform: Shape 1368">
              <a:extLst>
                <a:ext uri="{FF2B5EF4-FFF2-40B4-BE49-F238E27FC236}">
                  <a16:creationId xmlns:a16="http://schemas.microsoft.com/office/drawing/2014/main" id="{7FF3F254-B2DB-4ECA-9EFD-CBD8E50450F2}"/>
                </a:ext>
              </a:extLst>
            </p:cNvPr>
            <p:cNvSpPr/>
            <p:nvPr/>
          </p:nvSpPr>
          <p:spPr>
            <a:xfrm>
              <a:off x="2045669" y="4744124"/>
              <a:ext cx="101364" cy="24227"/>
            </a:xfrm>
            <a:custGeom>
              <a:avLst/>
              <a:gdLst>
                <a:gd name="connsiteX0" fmla="*/ 101365 w 101364"/>
                <a:gd name="connsiteY0" fmla="*/ 24227 h 24227"/>
                <a:gd name="connsiteX1" fmla="*/ 0 w 101364"/>
                <a:gd name="connsiteY1" fmla="*/ 0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24227">
                  <a:moveTo>
                    <a:pt x="101365" y="2422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0" name="Freeform: Shape 1369">
              <a:extLst>
                <a:ext uri="{FF2B5EF4-FFF2-40B4-BE49-F238E27FC236}">
                  <a16:creationId xmlns:a16="http://schemas.microsoft.com/office/drawing/2014/main" id="{B05E648E-B792-4FC7-A36A-83352D8B8D54}"/>
                </a:ext>
              </a:extLst>
            </p:cNvPr>
            <p:cNvSpPr/>
            <p:nvPr/>
          </p:nvSpPr>
          <p:spPr>
            <a:xfrm>
              <a:off x="8659426" y="1595140"/>
              <a:ext cx="101642" cy="18657"/>
            </a:xfrm>
            <a:custGeom>
              <a:avLst/>
              <a:gdLst>
                <a:gd name="connsiteX0" fmla="*/ 101643 w 101642"/>
                <a:gd name="connsiteY0" fmla="*/ 18658 h 18657"/>
                <a:gd name="connsiteX1" fmla="*/ 0 w 101642"/>
                <a:gd name="connsiteY1" fmla="*/ 0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8657">
                  <a:moveTo>
                    <a:pt x="101643" y="1865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1" name="Freeform: Shape 1370">
              <a:extLst>
                <a:ext uri="{FF2B5EF4-FFF2-40B4-BE49-F238E27FC236}">
                  <a16:creationId xmlns:a16="http://schemas.microsoft.com/office/drawing/2014/main" id="{68AEC79C-1BAE-40A2-B509-8588D348C7ED}"/>
                </a:ext>
              </a:extLst>
            </p:cNvPr>
            <p:cNvSpPr/>
            <p:nvPr/>
          </p:nvSpPr>
          <p:spPr>
            <a:xfrm>
              <a:off x="9798384" y="2268768"/>
              <a:ext cx="101364" cy="23948"/>
            </a:xfrm>
            <a:custGeom>
              <a:avLst/>
              <a:gdLst>
                <a:gd name="connsiteX0" fmla="*/ 101365 w 101364"/>
                <a:gd name="connsiteY0" fmla="*/ 23949 h 23948"/>
                <a:gd name="connsiteX1" fmla="*/ 0 w 101364"/>
                <a:gd name="connsiteY1" fmla="*/ 0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23948">
                  <a:moveTo>
                    <a:pt x="101365" y="2394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2" name="Freeform: Shape 1371">
              <a:extLst>
                <a:ext uri="{FF2B5EF4-FFF2-40B4-BE49-F238E27FC236}">
                  <a16:creationId xmlns:a16="http://schemas.microsoft.com/office/drawing/2014/main" id="{9CC1547D-7A64-472A-8834-51874132513F}"/>
                </a:ext>
              </a:extLst>
            </p:cNvPr>
            <p:cNvSpPr/>
            <p:nvPr/>
          </p:nvSpPr>
          <p:spPr>
            <a:xfrm>
              <a:off x="676691" y="2268768"/>
              <a:ext cx="101642" cy="23948"/>
            </a:xfrm>
            <a:custGeom>
              <a:avLst/>
              <a:gdLst>
                <a:gd name="connsiteX0" fmla="*/ 101643 w 101642"/>
                <a:gd name="connsiteY0" fmla="*/ 23949 h 23948"/>
                <a:gd name="connsiteX1" fmla="*/ 0 w 101642"/>
                <a:gd name="connsiteY1" fmla="*/ 0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3948">
                  <a:moveTo>
                    <a:pt x="101643" y="2394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3" name="Freeform: Shape 1372">
              <a:extLst>
                <a:ext uri="{FF2B5EF4-FFF2-40B4-BE49-F238E27FC236}">
                  <a16:creationId xmlns:a16="http://schemas.microsoft.com/office/drawing/2014/main" id="{8F392AD7-ABCA-4C95-9B34-692031F653F4}"/>
                </a:ext>
              </a:extLst>
            </p:cNvPr>
            <p:cNvSpPr/>
            <p:nvPr/>
          </p:nvSpPr>
          <p:spPr>
            <a:xfrm>
              <a:off x="10030910" y="2717947"/>
              <a:ext cx="98858" cy="23948"/>
            </a:xfrm>
            <a:custGeom>
              <a:avLst/>
              <a:gdLst>
                <a:gd name="connsiteX0" fmla="*/ 0 w 98858"/>
                <a:gd name="connsiteY0" fmla="*/ 0 h 23948"/>
                <a:gd name="connsiteX1" fmla="*/ 98859 w 98858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23948">
                  <a:moveTo>
                    <a:pt x="0" y="0"/>
                  </a:moveTo>
                  <a:lnTo>
                    <a:pt x="98859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4" name="Freeform: Shape 1373">
              <a:extLst>
                <a:ext uri="{FF2B5EF4-FFF2-40B4-BE49-F238E27FC236}">
                  <a16:creationId xmlns:a16="http://schemas.microsoft.com/office/drawing/2014/main" id="{39FA7888-C4AD-49C3-A99D-E67ECCB1990D}"/>
                </a:ext>
              </a:extLst>
            </p:cNvPr>
            <p:cNvSpPr/>
            <p:nvPr/>
          </p:nvSpPr>
          <p:spPr>
            <a:xfrm>
              <a:off x="446950" y="2044040"/>
              <a:ext cx="98858" cy="21442"/>
            </a:xfrm>
            <a:custGeom>
              <a:avLst/>
              <a:gdLst>
                <a:gd name="connsiteX0" fmla="*/ 98858 w 98858"/>
                <a:gd name="connsiteY0" fmla="*/ 21442 h 21442"/>
                <a:gd name="connsiteX1" fmla="*/ 0 w 98858"/>
                <a:gd name="connsiteY1" fmla="*/ 0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21442">
                  <a:moveTo>
                    <a:pt x="98858" y="2144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5" name="Freeform: Shape 1374">
              <a:extLst>
                <a:ext uri="{FF2B5EF4-FFF2-40B4-BE49-F238E27FC236}">
                  <a16:creationId xmlns:a16="http://schemas.microsoft.com/office/drawing/2014/main" id="{95FF361B-727F-4052-B366-AB933C49B1E7}"/>
                </a:ext>
              </a:extLst>
            </p:cNvPr>
            <p:cNvSpPr/>
            <p:nvPr/>
          </p:nvSpPr>
          <p:spPr>
            <a:xfrm>
              <a:off x="5922027" y="688707"/>
              <a:ext cx="96073" cy="32024"/>
            </a:xfrm>
            <a:custGeom>
              <a:avLst/>
              <a:gdLst>
                <a:gd name="connsiteX0" fmla="*/ 0 w 96073"/>
                <a:gd name="connsiteY0" fmla="*/ 0 h 32024"/>
                <a:gd name="connsiteX1" fmla="*/ 96074 w 96073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32024">
                  <a:moveTo>
                    <a:pt x="0" y="0"/>
                  </a:moveTo>
                  <a:lnTo>
                    <a:pt x="96074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6" name="Freeform: Shape 1375">
              <a:extLst>
                <a:ext uri="{FF2B5EF4-FFF2-40B4-BE49-F238E27FC236}">
                  <a16:creationId xmlns:a16="http://schemas.microsoft.com/office/drawing/2014/main" id="{17F1E87C-EB58-451F-AE15-F91612327772}"/>
                </a:ext>
              </a:extLst>
            </p:cNvPr>
            <p:cNvSpPr/>
            <p:nvPr/>
          </p:nvSpPr>
          <p:spPr>
            <a:xfrm>
              <a:off x="9113895" y="5645265"/>
              <a:ext cx="98858" cy="23948"/>
            </a:xfrm>
            <a:custGeom>
              <a:avLst/>
              <a:gdLst>
                <a:gd name="connsiteX0" fmla="*/ 0 w 98858"/>
                <a:gd name="connsiteY0" fmla="*/ 0 h 23948"/>
                <a:gd name="connsiteX1" fmla="*/ 98858 w 98858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23948">
                  <a:moveTo>
                    <a:pt x="0" y="0"/>
                  </a:moveTo>
                  <a:lnTo>
                    <a:pt x="98858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7" name="Freeform: Shape 1376">
              <a:extLst>
                <a:ext uri="{FF2B5EF4-FFF2-40B4-BE49-F238E27FC236}">
                  <a16:creationId xmlns:a16="http://schemas.microsoft.com/office/drawing/2014/main" id="{07009754-324C-4250-B337-AECFAB1CE9C7}"/>
                </a:ext>
              </a:extLst>
            </p:cNvPr>
            <p:cNvSpPr/>
            <p:nvPr/>
          </p:nvSpPr>
          <p:spPr>
            <a:xfrm>
              <a:off x="5700083" y="693998"/>
              <a:ext cx="98858" cy="16151"/>
            </a:xfrm>
            <a:custGeom>
              <a:avLst/>
              <a:gdLst>
                <a:gd name="connsiteX0" fmla="*/ 0 w 98858"/>
                <a:gd name="connsiteY0" fmla="*/ 0 h 16151"/>
                <a:gd name="connsiteX1" fmla="*/ 98858 w 98858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6151">
                  <a:moveTo>
                    <a:pt x="0" y="0"/>
                  </a:moveTo>
                  <a:lnTo>
                    <a:pt x="98858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8" name="Freeform: Shape 1377">
              <a:extLst>
                <a:ext uri="{FF2B5EF4-FFF2-40B4-BE49-F238E27FC236}">
                  <a16:creationId xmlns:a16="http://schemas.microsoft.com/office/drawing/2014/main" id="{36546208-8489-4CC9-B5F3-A18B373B6324}"/>
                </a:ext>
              </a:extLst>
            </p:cNvPr>
            <p:cNvSpPr/>
            <p:nvPr/>
          </p:nvSpPr>
          <p:spPr>
            <a:xfrm>
              <a:off x="10252854" y="4067989"/>
              <a:ext cx="98858" cy="23948"/>
            </a:xfrm>
            <a:custGeom>
              <a:avLst/>
              <a:gdLst>
                <a:gd name="connsiteX0" fmla="*/ 0 w 98858"/>
                <a:gd name="connsiteY0" fmla="*/ 0 h 23948"/>
                <a:gd name="connsiteX1" fmla="*/ 98858 w 98858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23948">
                  <a:moveTo>
                    <a:pt x="0" y="0"/>
                  </a:moveTo>
                  <a:lnTo>
                    <a:pt x="98858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9" name="Freeform: Shape 1378">
              <a:extLst>
                <a:ext uri="{FF2B5EF4-FFF2-40B4-BE49-F238E27FC236}">
                  <a16:creationId xmlns:a16="http://schemas.microsoft.com/office/drawing/2014/main" id="{A3E8E212-E16B-4D6B-88B6-EB8BFA792C5E}"/>
                </a:ext>
              </a:extLst>
            </p:cNvPr>
            <p:cNvSpPr/>
            <p:nvPr/>
          </p:nvSpPr>
          <p:spPr>
            <a:xfrm>
              <a:off x="2045669" y="3164341"/>
              <a:ext cx="96073" cy="29239"/>
            </a:xfrm>
            <a:custGeom>
              <a:avLst/>
              <a:gdLst>
                <a:gd name="connsiteX0" fmla="*/ 0 w 96073"/>
                <a:gd name="connsiteY0" fmla="*/ 0 h 29239"/>
                <a:gd name="connsiteX1" fmla="*/ 96073 w 96073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9239">
                  <a:moveTo>
                    <a:pt x="0" y="0"/>
                  </a:moveTo>
                  <a:lnTo>
                    <a:pt x="96073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0" name="Freeform: Shape 1379">
              <a:extLst>
                <a:ext uri="{FF2B5EF4-FFF2-40B4-BE49-F238E27FC236}">
                  <a16:creationId xmlns:a16="http://schemas.microsoft.com/office/drawing/2014/main" id="{883BB91F-C14B-436D-9666-CBF5E31D6D4B}"/>
                </a:ext>
              </a:extLst>
            </p:cNvPr>
            <p:cNvSpPr/>
            <p:nvPr/>
          </p:nvSpPr>
          <p:spPr>
            <a:xfrm>
              <a:off x="2500139" y="3846045"/>
              <a:ext cx="96073" cy="26733"/>
            </a:xfrm>
            <a:custGeom>
              <a:avLst/>
              <a:gdLst>
                <a:gd name="connsiteX0" fmla="*/ 96073 w 96073"/>
                <a:gd name="connsiteY0" fmla="*/ 26734 h 26733"/>
                <a:gd name="connsiteX1" fmla="*/ 0 w 96073"/>
                <a:gd name="connsiteY1" fmla="*/ 0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6733">
                  <a:moveTo>
                    <a:pt x="96073" y="26734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1" name="Freeform: Shape 1380">
              <a:extLst>
                <a:ext uri="{FF2B5EF4-FFF2-40B4-BE49-F238E27FC236}">
                  <a16:creationId xmlns:a16="http://schemas.microsoft.com/office/drawing/2014/main" id="{E3D25F64-9750-45A2-B33D-FF9788F66C20}"/>
                </a:ext>
              </a:extLst>
            </p:cNvPr>
            <p:cNvSpPr/>
            <p:nvPr/>
          </p:nvSpPr>
          <p:spPr>
            <a:xfrm>
              <a:off x="10252854" y="4295224"/>
              <a:ext cx="96073" cy="26733"/>
            </a:xfrm>
            <a:custGeom>
              <a:avLst/>
              <a:gdLst>
                <a:gd name="connsiteX0" fmla="*/ 96074 w 96073"/>
                <a:gd name="connsiteY0" fmla="*/ 26734 h 26733"/>
                <a:gd name="connsiteX1" fmla="*/ 0 w 96073"/>
                <a:gd name="connsiteY1" fmla="*/ 0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6733">
                  <a:moveTo>
                    <a:pt x="96074" y="26734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2" name="Freeform: Shape 1381">
              <a:extLst>
                <a:ext uri="{FF2B5EF4-FFF2-40B4-BE49-F238E27FC236}">
                  <a16:creationId xmlns:a16="http://schemas.microsoft.com/office/drawing/2014/main" id="{72EBC134-F0FE-4592-9A4D-EC4BA1ABAE76}"/>
                </a:ext>
              </a:extLst>
            </p:cNvPr>
            <p:cNvSpPr/>
            <p:nvPr/>
          </p:nvSpPr>
          <p:spPr>
            <a:xfrm>
              <a:off x="5461988" y="469548"/>
              <a:ext cx="106933" cy="21442"/>
            </a:xfrm>
            <a:custGeom>
              <a:avLst/>
              <a:gdLst>
                <a:gd name="connsiteX0" fmla="*/ 0 w 106933"/>
                <a:gd name="connsiteY0" fmla="*/ 0 h 21442"/>
                <a:gd name="connsiteX1" fmla="*/ 106934 w 106933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21442">
                  <a:moveTo>
                    <a:pt x="0" y="0"/>
                  </a:moveTo>
                  <a:lnTo>
                    <a:pt x="106934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3" name="Freeform: Shape 1382">
              <a:extLst>
                <a:ext uri="{FF2B5EF4-FFF2-40B4-BE49-F238E27FC236}">
                  <a16:creationId xmlns:a16="http://schemas.microsoft.com/office/drawing/2014/main" id="{F3A2A600-C102-484E-8084-84DEC52CF005}"/>
                </a:ext>
              </a:extLst>
            </p:cNvPr>
            <p:cNvSpPr/>
            <p:nvPr/>
          </p:nvSpPr>
          <p:spPr>
            <a:xfrm>
              <a:off x="6606237" y="1143177"/>
              <a:ext cx="96351" cy="24227"/>
            </a:xfrm>
            <a:custGeom>
              <a:avLst/>
              <a:gdLst>
                <a:gd name="connsiteX0" fmla="*/ 0 w 96351"/>
                <a:gd name="connsiteY0" fmla="*/ 0 h 24227"/>
                <a:gd name="connsiteX1" fmla="*/ 96352 w 96351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24227">
                  <a:moveTo>
                    <a:pt x="0" y="0"/>
                  </a:moveTo>
                  <a:lnTo>
                    <a:pt x="96352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4" name="Freeform: Shape 1383">
              <a:extLst>
                <a:ext uri="{FF2B5EF4-FFF2-40B4-BE49-F238E27FC236}">
                  <a16:creationId xmlns:a16="http://schemas.microsoft.com/office/drawing/2014/main" id="{FEBF48B6-AEBD-4499-9A92-BB8AC7EE27CD}"/>
                </a:ext>
              </a:extLst>
            </p:cNvPr>
            <p:cNvSpPr/>
            <p:nvPr/>
          </p:nvSpPr>
          <p:spPr>
            <a:xfrm>
              <a:off x="2270119" y="4067989"/>
              <a:ext cx="96351" cy="32024"/>
            </a:xfrm>
            <a:custGeom>
              <a:avLst/>
              <a:gdLst>
                <a:gd name="connsiteX0" fmla="*/ 0 w 96351"/>
                <a:gd name="connsiteY0" fmla="*/ 0 h 32024"/>
                <a:gd name="connsiteX1" fmla="*/ 96352 w 9635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32024">
                  <a:moveTo>
                    <a:pt x="0" y="0"/>
                  </a:moveTo>
                  <a:lnTo>
                    <a:pt x="96352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5" name="Freeform: Shape 1384">
              <a:extLst>
                <a:ext uri="{FF2B5EF4-FFF2-40B4-BE49-F238E27FC236}">
                  <a16:creationId xmlns:a16="http://schemas.microsoft.com/office/drawing/2014/main" id="{BFD0976F-486F-437F-86FB-13346AA65161}"/>
                </a:ext>
              </a:extLst>
            </p:cNvPr>
            <p:cNvSpPr/>
            <p:nvPr/>
          </p:nvSpPr>
          <p:spPr>
            <a:xfrm>
              <a:off x="1363965" y="2717947"/>
              <a:ext cx="96073" cy="21164"/>
            </a:xfrm>
            <a:custGeom>
              <a:avLst/>
              <a:gdLst>
                <a:gd name="connsiteX0" fmla="*/ 0 w 96073"/>
                <a:gd name="connsiteY0" fmla="*/ 0 h 21164"/>
                <a:gd name="connsiteX1" fmla="*/ 96073 w 96073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1164">
                  <a:moveTo>
                    <a:pt x="0" y="0"/>
                  </a:moveTo>
                  <a:lnTo>
                    <a:pt x="96073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6" name="Freeform: Shape 1385">
              <a:extLst>
                <a:ext uri="{FF2B5EF4-FFF2-40B4-BE49-F238E27FC236}">
                  <a16:creationId xmlns:a16="http://schemas.microsoft.com/office/drawing/2014/main" id="{A122A7C3-82BD-4F34-B8B8-FD5060A2D20C}"/>
                </a:ext>
              </a:extLst>
            </p:cNvPr>
            <p:cNvSpPr/>
            <p:nvPr/>
          </p:nvSpPr>
          <p:spPr>
            <a:xfrm>
              <a:off x="8883876" y="1592355"/>
              <a:ext cx="96351" cy="26733"/>
            </a:xfrm>
            <a:custGeom>
              <a:avLst/>
              <a:gdLst>
                <a:gd name="connsiteX0" fmla="*/ 0 w 96351"/>
                <a:gd name="connsiteY0" fmla="*/ 0 h 26733"/>
                <a:gd name="connsiteX1" fmla="*/ 96352 w 96351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26733">
                  <a:moveTo>
                    <a:pt x="0" y="0"/>
                  </a:moveTo>
                  <a:lnTo>
                    <a:pt x="96352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7" name="Freeform: Shape 1386">
              <a:extLst>
                <a:ext uri="{FF2B5EF4-FFF2-40B4-BE49-F238E27FC236}">
                  <a16:creationId xmlns:a16="http://schemas.microsoft.com/office/drawing/2014/main" id="{5AD655EC-01EE-4DC4-8099-0B9F96D76D07}"/>
                </a:ext>
              </a:extLst>
            </p:cNvPr>
            <p:cNvSpPr/>
            <p:nvPr/>
          </p:nvSpPr>
          <p:spPr>
            <a:xfrm>
              <a:off x="1593706" y="2945182"/>
              <a:ext cx="93567" cy="26733"/>
            </a:xfrm>
            <a:custGeom>
              <a:avLst/>
              <a:gdLst>
                <a:gd name="connsiteX0" fmla="*/ 0 w 93567"/>
                <a:gd name="connsiteY0" fmla="*/ 0 h 26733"/>
                <a:gd name="connsiteX1" fmla="*/ 93567 w 93567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6733">
                  <a:moveTo>
                    <a:pt x="0" y="0"/>
                  </a:moveTo>
                  <a:lnTo>
                    <a:pt x="93567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8" name="Freeform: Shape 1387">
              <a:extLst>
                <a:ext uri="{FF2B5EF4-FFF2-40B4-BE49-F238E27FC236}">
                  <a16:creationId xmlns:a16="http://schemas.microsoft.com/office/drawing/2014/main" id="{238F5B9C-8D1A-4DE4-9996-EBC5D968D364}"/>
                </a:ext>
              </a:extLst>
            </p:cNvPr>
            <p:cNvSpPr/>
            <p:nvPr/>
          </p:nvSpPr>
          <p:spPr>
            <a:xfrm>
              <a:off x="9343915" y="1819590"/>
              <a:ext cx="93567" cy="26733"/>
            </a:xfrm>
            <a:custGeom>
              <a:avLst/>
              <a:gdLst>
                <a:gd name="connsiteX0" fmla="*/ 93567 w 93567"/>
                <a:gd name="connsiteY0" fmla="*/ 26733 h 26733"/>
                <a:gd name="connsiteX1" fmla="*/ 0 w 93567"/>
                <a:gd name="connsiteY1" fmla="*/ 0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6733">
                  <a:moveTo>
                    <a:pt x="93567" y="26733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9" name="Freeform: Shape 1388">
              <a:extLst>
                <a:ext uri="{FF2B5EF4-FFF2-40B4-BE49-F238E27FC236}">
                  <a16:creationId xmlns:a16="http://schemas.microsoft.com/office/drawing/2014/main" id="{12053FAF-0418-42C2-9488-4B8079529454}"/>
                </a:ext>
              </a:extLst>
            </p:cNvPr>
            <p:cNvSpPr/>
            <p:nvPr/>
          </p:nvSpPr>
          <p:spPr>
            <a:xfrm>
              <a:off x="8199665" y="1367905"/>
              <a:ext cx="90782" cy="37315"/>
            </a:xfrm>
            <a:custGeom>
              <a:avLst/>
              <a:gdLst>
                <a:gd name="connsiteX0" fmla="*/ 0 w 90782"/>
                <a:gd name="connsiteY0" fmla="*/ 0 h 37315"/>
                <a:gd name="connsiteX1" fmla="*/ 90783 w 90782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37315">
                  <a:moveTo>
                    <a:pt x="0" y="0"/>
                  </a:moveTo>
                  <a:lnTo>
                    <a:pt x="90783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0" name="Freeform: Shape 1389">
              <a:extLst>
                <a:ext uri="{FF2B5EF4-FFF2-40B4-BE49-F238E27FC236}">
                  <a16:creationId xmlns:a16="http://schemas.microsoft.com/office/drawing/2014/main" id="{5B4003BB-DAA3-4CDD-88CD-DD00E812F9A5}"/>
                </a:ext>
              </a:extLst>
            </p:cNvPr>
            <p:cNvSpPr/>
            <p:nvPr/>
          </p:nvSpPr>
          <p:spPr>
            <a:xfrm>
              <a:off x="2270119" y="3394082"/>
              <a:ext cx="90782" cy="37593"/>
            </a:xfrm>
            <a:custGeom>
              <a:avLst/>
              <a:gdLst>
                <a:gd name="connsiteX0" fmla="*/ 0 w 90782"/>
                <a:gd name="connsiteY0" fmla="*/ 0 h 37593"/>
                <a:gd name="connsiteX1" fmla="*/ 90782 w 90782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37593">
                  <a:moveTo>
                    <a:pt x="0" y="0"/>
                  </a:moveTo>
                  <a:lnTo>
                    <a:pt x="90782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1" name="Freeform: Shape 1390">
              <a:extLst>
                <a:ext uri="{FF2B5EF4-FFF2-40B4-BE49-F238E27FC236}">
                  <a16:creationId xmlns:a16="http://schemas.microsoft.com/office/drawing/2014/main" id="{B32A2004-5AF0-4212-8476-8490C8A03A97}"/>
                </a:ext>
              </a:extLst>
            </p:cNvPr>
            <p:cNvSpPr/>
            <p:nvPr/>
          </p:nvSpPr>
          <p:spPr>
            <a:xfrm>
              <a:off x="10030910" y="2493218"/>
              <a:ext cx="93567" cy="29518"/>
            </a:xfrm>
            <a:custGeom>
              <a:avLst/>
              <a:gdLst>
                <a:gd name="connsiteX0" fmla="*/ 0 w 93567"/>
                <a:gd name="connsiteY0" fmla="*/ 0 h 29518"/>
                <a:gd name="connsiteX1" fmla="*/ 93567 w 9356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9518">
                  <a:moveTo>
                    <a:pt x="0" y="0"/>
                  </a:moveTo>
                  <a:lnTo>
                    <a:pt x="935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2" name="Freeform: Shape 1391">
              <a:extLst>
                <a:ext uri="{FF2B5EF4-FFF2-40B4-BE49-F238E27FC236}">
                  <a16:creationId xmlns:a16="http://schemas.microsoft.com/office/drawing/2014/main" id="{D3B2171A-5557-458D-96F6-11B7AA1D0EAA}"/>
                </a:ext>
              </a:extLst>
            </p:cNvPr>
            <p:cNvSpPr/>
            <p:nvPr/>
          </p:nvSpPr>
          <p:spPr>
            <a:xfrm>
              <a:off x="9800890" y="5193302"/>
              <a:ext cx="93567" cy="29518"/>
            </a:xfrm>
            <a:custGeom>
              <a:avLst/>
              <a:gdLst>
                <a:gd name="connsiteX0" fmla="*/ 0 w 93567"/>
                <a:gd name="connsiteY0" fmla="*/ 0 h 29518"/>
                <a:gd name="connsiteX1" fmla="*/ 93568 w 9356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9518">
                  <a:moveTo>
                    <a:pt x="0" y="0"/>
                  </a:moveTo>
                  <a:lnTo>
                    <a:pt x="93568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3" name="Freeform: Shape 1392">
              <a:extLst>
                <a:ext uri="{FF2B5EF4-FFF2-40B4-BE49-F238E27FC236}">
                  <a16:creationId xmlns:a16="http://schemas.microsoft.com/office/drawing/2014/main" id="{2B624FEB-6E93-4E42-B133-EA9CBBBFCB7A}"/>
                </a:ext>
              </a:extLst>
            </p:cNvPr>
            <p:cNvSpPr/>
            <p:nvPr/>
          </p:nvSpPr>
          <p:spPr>
            <a:xfrm>
              <a:off x="1818434" y="5193302"/>
              <a:ext cx="93567" cy="29518"/>
            </a:xfrm>
            <a:custGeom>
              <a:avLst/>
              <a:gdLst>
                <a:gd name="connsiteX0" fmla="*/ 0 w 93567"/>
                <a:gd name="connsiteY0" fmla="*/ 0 h 29518"/>
                <a:gd name="connsiteX1" fmla="*/ 93567 w 9356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9518">
                  <a:moveTo>
                    <a:pt x="0" y="0"/>
                  </a:moveTo>
                  <a:lnTo>
                    <a:pt x="935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4" name="Freeform: Shape 1393">
              <a:extLst>
                <a:ext uri="{FF2B5EF4-FFF2-40B4-BE49-F238E27FC236}">
                  <a16:creationId xmlns:a16="http://schemas.microsoft.com/office/drawing/2014/main" id="{2B2AC339-4F00-40BC-B010-710656FE67F9}"/>
                </a:ext>
              </a:extLst>
            </p:cNvPr>
            <p:cNvSpPr/>
            <p:nvPr/>
          </p:nvSpPr>
          <p:spPr>
            <a:xfrm>
              <a:off x="2048175" y="4519674"/>
              <a:ext cx="93567" cy="29518"/>
            </a:xfrm>
            <a:custGeom>
              <a:avLst/>
              <a:gdLst>
                <a:gd name="connsiteX0" fmla="*/ 0 w 93567"/>
                <a:gd name="connsiteY0" fmla="*/ 0 h 29518"/>
                <a:gd name="connsiteX1" fmla="*/ 93567 w 9356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9518">
                  <a:moveTo>
                    <a:pt x="0" y="0"/>
                  </a:moveTo>
                  <a:lnTo>
                    <a:pt x="935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5" name="Freeform: Shape 1394">
              <a:extLst>
                <a:ext uri="{FF2B5EF4-FFF2-40B4-BE49-F238E27FC236}">
                  <a16:creationId xmlns:a16="http://schemas.microsoft.com/office/drawing/2014/main" id="{5C2ADC84-AADA-4F18-A043-D7E1F66607C6}"/>
                </a:ext>
              </a:extLst>
            </p:cNvPr>
            <p:cNvSpPr/>
            <p:nvPr/>
          </p:nvSpPr>
          <p:spPr>
            <a:xfrm>
              <a:off x="6154552" y="918726"/>
              <a:ext cx="93567" cy="23948"/>
            </a:xfrm>
            <a:custGeom>
              <a:avLst/>
              <a:gdLst>
                <a:gd name="connsiteX0" fmla="*/ 0 w 93567"/>
                <a:gd name="connsiteY0" fmla="*/ 0 h 23948"/>
                <a:gd name="connsiteX1" fmla="*/ 93567 w 93567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3948">
                  <a:moveTo>
                    <a:pt x="0" y="0"/>
                  </a:moveTo>
                  <a:lnTo>
                    <a:pt x="93567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6" name="Freeform: Shape 1395">
              <a:extLst>
                <a:ext uri="{FF2B5EF4-FFF2-40B4-BE49-F238E27FC236}">
                  <a16:creationId xmlns:a16="http://schemas.microsoft.com/office/drawing/2014/main" id="{DF28544B-8B8F-4B45-B6F9-E727A618369C}"/>
                </a:ext>
              </a:extLst>
            </p:cNvPr>
            <p:cNvSpPr/>
            <p:nvPr/>
          </p:nvSpPr>
          <p:spPr>
            <a:xfrm>
              <a:off x="6376496" y="918726"/>
              <a:ext cx="90782" cy="29239"/>
            </a:xfrm>
            <a:custGeom>
              <a:avLst/>
              <a:gdLst>
                <a:gd name="connsiteX0" fmla="*/ 0 w 90782"/>
                <a:gd name="connsiteY0" fmla="*/ 0 h 29239"/>
                <a:gd name="connsiteX1" fmla="*/ 90782 w 90782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29239">
                  <a:moveTo>
                    <a:pt x="0" y="0"/>
                  </a:moveTo>
                  <a:lnTo>
                    <a:pt x="90782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7" name="Freeform: Shape 1396">
              <a:extLst>
                <a:ext uri="{FF2B5EF4-FFF2-40B4-BE49-F238E27FC236}">
                  <a16:creationId xmlns:a16="http://schemas.microsoft.com/office/drawing/2014/main" id="{7CEA550F-803B-41FB-9212-D712EA2AA2FF}"/>
                </a:ext>
              </a:extLst>
            </p:cNvPr>
            <p:cNvSpPr/>
            <p:nvPr/>
          </p:nvSpPr>
          <p:spPr>
            <a:xfrm>
              <a:off x="10260651" y="3169632"/>
              <a:ext cx="91060" cy="23948"/>
            </a:xfrm>
            <a:custGeom>
              <a:avLst/>
              <a:gdLst>
                <a:gd name="connsiteX0" fmla="*/ 0 w 91060"/>
                <a:gd name="connsiteY0" fmla="*/ 0 h 23948"/>
                <a:gd name="connsiteX1" fmla="*/ 91061 w 91060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23948">
                  <a:moveTo>
                    <a:pt x="0" y="0"/>
                  </a:moveTo>
                  <a:lnTo>
                    <a:pt x="91061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8" name="Freeform: Shape 1397">
              <a:extLst>
                <a:ext uri="{FF2B5EF4-FFF2-40B4-BE49-F238E27FC236}">
                  <a16:creationId xmlns:a16="http://schemas.microsoft.com/office/drawing/2014/main" id="{E33A176B-DD62-413C-8A8C-F1C61507608A}"/>
                </a:ext>
              </a:extLst>
            </p:cNvPr>
            <p:cNvSpPr/>
            <p:nvPr/>
          </p:nvSpPr>
          <p:spPr>
            <a:xfrm>
              <a:off x="10252854" y="4519674"/>
              <a:ext cx="90782" cy="32024"/>
            </a:xfrm>
            <a:custGeom>
              <a:avLst/>
              <a:gdLst>
                <a:gd name="connsiteX0" fmla="*/ 90782 w 90782"/>
                <a:gd name="connsiteY0" fmla="*/ 32025 h 32024"/>
                <a:gd name="connsiteX1" fmla="*/ 0 w 90782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32024">
                  <a:moveTo>
                    <a:pt x="90782" y="3202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9" name="Freeform: Shape 1398">
              <a:extLst>
                <a:ext uri="{FF2B5EF4-FFF2-40B4-BE49-F238E27FC236}">
                  <a16:creationId xmlns:a16="http://schemas.microsoft.com/office/drawing/2014/main" id="{7C41D7F6-3081-4F06-926A-F1302039764B}"/>
                </a:ext>
              </a:extLst>
            </p:cNvPr>
            <p:cNvSpPr/>
            <p:nvPr/>
          </p:nvSpPr>
          <p:spPr>
            <a:xfrm>
              <a:off x="7515176" y="1367905"/>
              <a:ext cx="91060" cy="37315"/>
            </a:xfrm>
            <a:custGeom>
              <a:avLst/>
              <a:gdLst>
                <a:gd name="connsiteX0" fmla="*/ 0 w 91060"/>
                <a:gd name="connsiteY0" fmla="*/ 0 h 37315"/>
                <a:gd name="connsiteX1" fmla="*/ 91061 w 91060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37315">
                  <a:moveTo>
                    <a:pt x="0" y="0"/>
                  </a:moveTo>
                  <a:lnTo>
                    <a:pt x="91061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0" name="Freeform: Shape 1399">
              <a:extLst>
                <a:ext uri="{FF2B5EF4-FFF2-40B4-BE49-F238E27FC236}">
                  <a16:creationId xmlns:a16="http://schemas.microsoft.com/office/drawing/2014/main" id="{62054613-3B10-4BCC-B988-B755AF1353C8}"/>
                </a:ext>
              </a:extLst>
            </p:cNvPr>
            <p:cNvSpPr/>
            <p:nvPr/>
          </p:nvSpPr>
          <p:spPr>
            <a:xfrm>
              <a:off x="9343915" y="5647772"/>
              <a:ext cx="90782" cy="29518"/>
            </a:xfrm>
            <a:custGeom>
              <a:avLst/>
              <a:gdLst>
                <a:gd name="connsiteX0" fmla="*/ 90783 w 90782"/>
                <a:gd name="connsiteY0" fmla="*/ 29518 h 29518"/>
                <a:gd name="connsiteX1" fmla="*/ 0 w 90782"/>
                <a:gd name="connsiteY1" fmla="*/ 0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29518">
                  <a:moveTo>
                    <a:pt x="90783" y="2951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1" name="Freeform: Shape 1400">
              <a:extLst>
                <a:ext uri="{FF2B5EF4-FFF2-40B4-BE49-F238E27FC236}">
                  <a16:creationId xmlns:a16="http://schemas.microsoft.com/office/drawing/2014/main" id="{3D64E564-8A4C-4970-BD2D-80BA9E0830BA}"/>
                </a:ext>
              </a:extLst>
            </p:cNvPr>
            <p:cNvSpPr/>
            <p:nvPr/>
          </p:nvSpPr>
          <p:spPr>
            <a:xfrm>
              <a:off x="7290726" y="1370411"/>
              <a:ext cx="90782" cy="29518"/>
            </a:xfrm>
            <a:custGeom>
              <a:avLst/>
              <a:gdLst>
                <a:gd name="connsiteX0" fmla="*/ 90782 w 90782"/>
                <a:gd name="connsiteY0" fmla="*/ 29518 h 29518"/>
                <a:gd name="connsiteX1" fmla="*/ 0 w 90782"/>
                <a:gd name="connsiteY1" fmla="*/ 0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29518">
                  <a:moveTo>
                    <a:pt x="90782" y="2951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2" name="Freeform: Shape 1401">
              <a:extLst>
                <a:ext uri="{FF2B5EF4-FFF2-40B4-BE49-F238E27FC236}">
                  <a16:creationId xmlns:a16="http://schemas.microsoft.com/office/drawing/2014/main" id="{68041824-089D-4181-8839-FEA4E236D04B}"/>
                </a:ext>
              </a:extLst>
            </p:cNvPr>
            <p:cNvSpPr/>
            <p:nvPr/>
          </p:nvSpPr>
          <p:spPr>
            <a:xfrm>
              <a:off x="7745196" y="1370411"/>
              <a:ext cx="90782" cy="34809"/>
            </a:xfrm>
            <a:custGeom>
              <a:avLst/>
              <a:gdLst>
                <a:gd name="connsiteX0" fmla="*/ 90782 w 90782"/>
                <a:gd name="connsiteY0" fmla="*/ 34809 h 34809"/>
                <a:gd name="connsiteX1" fmla="*/ 0 w 90782"/>
                <a:gd name="connsiteY1" fmla="*/ 0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34809">
                  <a:moveTo>
                    <a:pt x="90782" y="3480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3" name="Freeform: Shape 1402">
              <a:extLst>
                <a:ext uri="{FF2B5EF4-FFF2-40B4-BE49-F238E27FC236}">
                  <a16:creationId xmlns:a16="http://schemas.microsoft.com/office/drawing/2014/main" id="{F822691B-0F8D-460A-96B8-A8F1633C9EE5}"/>
                </a:ext>
              </a:extLst>
            </p:cNvPr>
            <p:cNvSpPr/>
            <p:nvPr/>
          </p:nvSpPr>
          <p:spPr>
            <a:xfrm>
              <a:off x="2729880" y="3621316"/>
              <a:ext cx="91060" cy="26733"/>
            </a:xfrm>
            <a:custGeom>
              <a:avLst/>
              <a:gdLst>
                <a:gd name="connsiteX0" fmla="*/ 91061 w 91060"/>
                <a:gd name="connsiteY0" fmla="*/ 26734 h 26733"/>
                <a:gd name="connsiteX1" fmla="*/ 0 w 91060"/>
                <a:gd name="connsiteY1" fmla="*/ 0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26733">
                  <a:moveTo>
                    <a:pt x="91061" y="26734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4" name="Freeform: Shape 1403">
              <a:extLst>
                <a:ext uri="{FF2B5EF4-FFF2-40B4-BE49-F238E27FC236}">
                  <a16:creationId xmlns:a16="http://schemas.microsoft.com/office/drawing/2014/main" id="{B728B64F-50F6-4603-B2AE-D177A39F7757}"/>
                </a:ext>
              </a:extLst>
            </p:cNvPr>
            <p:cNvSpPr/>
            <p:nvPr/>
          </p:nvSpPr>
          <p:spPr>
            <a:xfrm>
              <a:off x="8429406" y="1370411"/>
              <a:ext cx="91060" cy="32024"/>
            </a:xfrm>
            <a:custGeom>
              <a:avLst/>
              <a:gdLst>
                <a:gd name="connsiteX0" fmla="*/ 91061 w 91060"/>
                <a:gd name="connsiteY0" fmla="*/ 32025 h 32024"/>
                <a:gd name="connsiteX1" fmla="*/ 0 w 91060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32024">
                  <a:moveTo>
                    <a:pt x="91061" y="3202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5" name="Freeform: Shape 1404">
              <a:extLst>
                <a:ext uri="{FF2B5EF4-FFF2-40B4-BE49-F238E27FC236}">
                  <a16:creationId xmlns:a16="http://schemas.microsoft.com/office/drawing/2014/main" id="{57EDEB54-EB28-44C4-B79F-D9133D759F9E}"/>
                </a:ext>
              </a:extLst>
            </p:cNvPr>
            <p:cNvSpPr/>
            <p:nvPr/>
          </p:nvSpPr>
          <p:spPr>
            <a:xfrm>
              <a:off x="9576440" y="5420537"/>
              <a:ext cx="88276" cy="32024"/>
            </a:xfrm>
            <a:custGeom>
              <a:avLst/>
              <a:gdLst>
                <a:gd name="connsiteX0" fmla="*/ 0 w 88276"/>
                <a:gd name="connsiteY0" fmla="*/ 0 h 32024"/>
                <a:gd name="connsiteX1" fmla="*/ 88277 w 88276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32024">
                  <a:moveTo>
                    <a:pt x="0" y="0"/>
                  </a:moveTo>
                  <a:lnTo>
                    <a:pt x="88277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6" name="Freeform: Shape 1405">
              <a:extLst>
                <a:ext uri="{FF2B5EF4-FFF2-40B4-BE49-F238E27FC236}">
                  <a16:creationId xmlns:a16="http://schemas.microsoft.com/office/drawing/2014/main" id="{65CD5E07-46FA-407E-8BDC-8020A2821BA6}"/>
                </a:ext>
              </a:extLst>
            </p:cNvPr>
            <p:cNvSpPr/>
            <p:nvPr/>
          </p:nvSpPr>
          <p:spPr>
            <a:xfrm>
              <a:off x="10030910" y="4968852"/>
              <a:ext cx="88276" cy="32024"/>
            </a:xfrm>
            <a:custGeom>
              <a:avLst/>
              <a:gdLst>
                <a:gd name="connsiteX0" fmla="*/ 0 w 88276"/>
                <a:gd name="connsiteY0" fmla="*/ 0 h 32024"/>
                <a:gd name="connsiteX1" fmla="*/ 88276 w 88276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32024">
                  <a:moveTo>
                    <a:pt x="0" y="0"/>
                  </a:moveTo>
                  <a:lnTo>
                    <a:pt x="88276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7" name="Freeform: Shape 1406">
              <a:extLst>
                <a:ext uri="{FF2B5EF4-FFF2-40B4-BE49-F238E27FC236}">
                  <a16:creationId xmlns:a16="http://schemas.microsoft.com/office/drawing/2014/main" id="{E948E893-8CEF-4A6A-BC05-5CF47A6AE9B9}"/>
                </a:ext>
              </a:extLst>
            </p:cNvPr>
            <p:cNvSpPr/>
            <p:nvPr/>
          </p:nvSpPr>
          <p:spPr>
            <a:xfrm>
              <a:off x="1815650" y="3169632"/>
              <a:ext cx="85491" cy="37315"/>
            </a:xfrm>
            <a:custGeom>
              <a:avLst/>
              <a:gdLst>
                <a:gd name="connsiteX0" fmla="*/ 0 w 85491"/>
                <a:gd name="connsiteY0" fmla="*/ 0 h 37315"/>
                <a:gd name="connsiteX1" fmla="*/ 85492 w 85491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7315">
                  <a:moveTo>
                    <a:pt x="0" y="0"/>
                  </a:moveTo>
                  <a:lnTo>
                    <a:pt x="85492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8" name="Freeform: Shape 1407">
              <a:extLst>
                <a:ext uri="{FF2B5EF4-FFF2-40B4-BE49-F238E27FC236}">
                  <a16:creationId xmlns:a16="http://schemas.microsoft.com/office/drawing/2014/main" id="{BC044630-E6F1-4497-B617-4DE6699CFC1B}"/>
                </a:ext>
              </a:extLst>
            </p:cNvPr>
            <p:cNvSpPr/>
            <p:nvPr/>
          </p:nvSpPr>
          <p:spPr>
            <a:xfrm>
              <a:off x="9113895" y="1595140"/>
              <a:ext cx="88276" cy="32024"/>
            </a:xfrm>
            <a:custGeom>
              <a:avLst/>
              <a:gdLst>
                <a:gd name="connsiteX0" fmla="*/ 88276 w 88276"/>
                <a:gd name="connsiteY0" fmla="*/ 32024 h 32024"/>
                <a:gd name="connsiteX1" fmla="*/ 0 w 88276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32024">
                  <a:moveTo>
                    <a:pt x="88276" y="32024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9" name="Freeform: Shape 1408">
              <a:extLst>
                <a:ext uri="{FF2B5EF4-FFF2-40B4-BE49-F238E27FC236}">
                  <a16:creationId xmlns:a16="http://schemas.microsoft.com/office/drawing/2014/main" id="{205654BE-75B5-4B55-A41B-35B2593C69B8}"/>
                </a:ext>
              </a:extLst>
            </p:cNvPr>
            <p:cNvSpPr/>
            <p:nvPr/>
          </p:nvSpPr>
          <p:spPr>
            <a:xfrm>
              <a:off x="6830966" y="1143177"/>
              <a:ext cx="87997" cy="34809"/>
            </a:xfrm>
            <a:custGeom>
              <a:avLst/>
              <a:gdLst>
                <a:gd name="connsiteX0" fmla="*/ 0 w 87997"/>
                <a:gd name="connsiteY0" fmla="*/ 0 h 34809"/>
                <a:gd name="connsiteX1" fmla="*/ 87998 w 8799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997" h="34809">
                  <a:moveTo>
                    <a:pt x="0" y="0"/>
                  </a:moveTo>
                  <a:lnTo>
                    <a:pt x="8799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0" name="Freeform: Shape 1409">
              <a:extLst>
                <a:ext uri="{FF2B5EF4-FFF2-40B4-BE49-F238E27FC236}">
                  <a16:creationId xmlns:a16="http://schemas.microsoft.com/office/drawing/2014/main" id="{F34F23FE-D294-4515-BF50-ADADF1249083}"/>
                </a:ext>
              </a:extLst>
            </p:cNvPr>
            <p:cNvSpPr/>
            <p:nvPr/>
          </p:nvSpPr>
          <p:spPr>
            <a:xfrm>
              <a:off x="1823725" y="5423322"/>
              <a:ext cx="88276" cy="21442"/>
            </a:xfrm>
            <a:custGeom>
              <a:avLst/>
              <a:gdLst>
                <a:gd name="connsiteX0" fmla="*/ 0 w 88276"/>
                <a:gd name="connsiteY0" fmla="*/ 0 h 21442"/>
                <a:gd name="connsiteX1" fmla="*/ 88276 w 88276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21442">
                  <a:moveTo>
                    <a:pt x="0" y="0"/>
                  </a:moveTo>
                  <a:lnTo>
                    <a:pt x="88276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2" name="Freeform: Shape 1411">
              <a:extLst>
                <a:ext uri="{FF2B5EF4-FFF2-40B4-BE49-F238E27FC236}">
                  <a16:creationId xmlns:a16="http://schemas.microsoft.com/office/drawing/2014/main" id="{C26436A5-C309-4544-A091-F8F0314F682D}"/>
                </a:ext>
              </a:extLst>
            </p:cNvPr>
            <p:cNvSpPr/>
            <p:nvPr/>
          </p:nvSpPr>
          <p:spPr>
            <a:xfrm>
              <a:off x="10260651" y="2945182"/>
              <a:ext cx="85769" cy="29239"/>
            </a:xfrm>
            <a:custGeom>
              <a:avLst/>
              <a:gdLst>
                <a:gd name="connsiteX0" fmla="*/ 0 w 85769"/>
                <a:gd name="connsiteY0" fmla="*/ 0 h 29239"/>
                <a:gd name="connsiteX1" fmla="*/ 85770 w 85769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69" h="29239">
                  <a:moveTo>
                    <a:pt x="0" y="0"/>
                  </a:moveTo>
                  <a:lnTo>
                    <a:pt x="85770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3" name="Freeform: Shape 1412">
              <a:extLst>
                <a:ext uri="{FF2B5EF4-FFF2-40B4-BE49-F238E27FC236}">
                  <a16:creationId xmlns:a16="http://schemas.microsoft.com/office/drawing/2014/main" id="{45F49D35-6D8B-43E9-9A20-6F16F612A96B}"/>
                </a:ext>
              </a:extLst>
            </p:cNvPr>
            <p:cNvSpPr/>
            <p:nvPr/>
          </p:nvSpPr>
          <p:spPr>
            <a:xfrm>
              <a:off x="449456" y="2268768"/>
              <a:ext cx="82985" cy="40100"/>
            </a:xfrm>
            <a:custGeom>
              <a:avLst/>
              <a:gdLst>
                <a:gd name="connsiteX0" fmla="*/ 0 w 82985"/>
                <a:gd name="connsiteY0" fmla="*/ 0 h 40100"/>
                <a:gd name="connsiteX1" fmla="*/ 82985 w 82985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40100">
                  <a:moveTo>
                    <a:pt x="0" y="0"/>
                  </a:moveTo>
                  <a:lnTo>
                    <a:pt x="8298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4" name="Freeform: Shape 1413">
              <a:extLst>
                <a:ext uri="{FF2B5EF4-FFF2-40B4-BE49-F238E27FC236}">
                  <a16:creationId xmlns:a16="http://schemas.microsoft.com/office/drawing/2014/main" id="{39682C83-03E9-4F8B-BEA5-994151CA7BD0}"/>
                </a:ext>
              </a:extLst>
            </p:cNvPr>
            <p:cNvSpPr/>
            <p:nvPr/>
          </p:nvSpPr>
          <p:spPr>
            <a:xfrm>
              <a:off x="1585630" y="5420537"/>
              <a:ext cx="85769" cy="37593"/>
            </a:xfrm>
            <a:custGeom>
              <a:avLst/>
              <a:gdLst>
                <a:gd name="connsiteX0" fmla="*/ 0 w 85769"/>
                <a:gd name="connsiteY0" fmla="*/ 0 h 37593"/>
                <a:gd name="connsiteX1" fmla="*/ 85770 w 85769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69" h="37593">
                  <a:moveTo>
                    <a:pt x="0" y="0"/>
                  </a:moveTo>
                  <a:lnTo>
                    <a:pt x="8577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5" name="Freeform: Shape 1414">
              <a:extLst>
                <a:ext uri="{FF2B5EF4-FFF2-40B4-BE49-F238E27FC236}">
                  <a16:creationId xmlns:a16="http://schemas.microsoft.com/office/drawing/2014/main" id="{5452F8EF-308C-4C6D-B951-31A57D0DDC42}"/>
                </a:ext>
              </a:extLst>
            </p:cNvPr>
            <p:cNvSpPr/>
            <p:nvPr/>
          </p:nvSpPr>
          <p:spPr>
            <a:xfrm>
              <a:off x="1585630" y="5645265"/>
              <a:ext cx="85769" cy="37315"/>
            </a:xfrm>
            <a:custGeom>
              <a:avLst/>
              <a:gdLst>
                <a:gd name="connsiteX0" fmla="*/ 0 w 85769"/>
                <a:gd name="connsiteY0" fmla="*/ 0 h 37315"/>
                <a:gd name="connsiteX1" fmla="*/ 85770 w 85769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69" h="37315">
                  <a:moveTo>
                    <a:pt x="0" y="0"/>
                  </a:moveTo>
                  <a:lnTo>
                    <a:pt x="85770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6" name="Freeform: Shape 1415">
              <a:extLst>
                <a:ext uri="{FF2B5EF4-FFF2-40B4-BE49-F238E27FC236}">
                  <a16:creationId xmlns:a16="http://schemas.microsoft.com/office/drawing/2014/main" id="{19F4F935-0E79-4DC5-BB84-C455281F2778}"/>
                </a:ext>
              </a:extLst>
            </p:cNvPr>
            <p:cNvSpPr/>
            <p:nvPr/>
          </p:nvSpPr>
          <p:spPr>
            <a:xfrm>
              <a:off x="901420" y="2496003"/>
              <a:ext cx="96073" cy="26733"/>
            </a:xfrm>
            <a:custGeom>
              <a:avLst/>
              <a:gdLst>
                <a:gd name="connsiteX0" fmla="*/ 0 w 96073"/>
                <a:gd name="connsiteY0" fmla="*/ 0 h 26733"/>
                <a:gd name="connsiteX1" fmla="*/ 96074 w 96073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6733">
                  <a:moveTo>
                    <a:pt x="0" y="0"/>
                  </a:moveTo>
                  <a:lnTo>
                    <a:pt x="96074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7" name="Freeform: Shape 1416">
              <a:extLst>
                <a:ext uri="{FF2B5EF4-FFF2-40B4-BE49-F238E27FC236}">
                  <a16:creationId xmlns:a16="http://schemas.microsoft.com/office/drawing/2014/main" id="{746203AA-2571-434E-A493-0F0170853027}"/>
                </a:ext>
              </a:extLst>
            </p:cNvPr>
            <p:cNvSpPr/>
            <p:nvPr/>
          </p:nvSpPr>
          <p:spPr>
            <a:xfrm>
              <a:off x="1818434" y="4968852"/>
              <a:ext cx="85491" cy="32024"/>
            </a:xfrm>
            <a:custGeom>
              <a:avLst/>
              <a:gdLst>
                <a:gd name="connsiteX0" fmla="*/ 0 w 85491"/>
                <a:gd name="connsiteY0" fmla="*/ 0 h 32024"/>
                <a:gd name="connsiteX1" fmla="*/ 85492 w 8549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2024">
                  <a:moveTo>
                    <a:pt x="0" y="0"/>
                  </a:moveTo>
                  <a:lnTo>
                    <a:pt x="85492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8" name="Freeform: Shape 1417">
              <a:extLst>
                <a:ext uri="{FF2B5EF4-FFF2-40B4-BE49-F238E27FC236}">
                  <a16:creationId xmlns:a16="http://schemas.microsoft.com/office/drawing/2014/main" id="{27C1C28E-A5DF-4733-9CDF-E885BC8FE650}"/>
                </a:ext>
              </a:extLst>
            </p:cNvPr>
            <p:cNvSpPr/>
            <p:nvPr/>
          </p:nvSpPr>
          <p:spPr>
            <a:xfrm>
              <a:off x="7974937" y="1370411"/>
              <a:ext cx="85769" cy="32024"/>
            </a:xfrm>
            <a:custGeom>
              <a:avLst/>
              <a:gdLst>
                <a:gd name="connsiteX0" fmla="*/ 85770 w 85769"/>
                <a:gd name="connsiteY0" fmla="*/ 32025 h 32024"/>
                <a:gd name="connsiteX1" fmla="*/ 0 w 85769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69" h="32024">
                  <a:moveTo>
                    <a:pt x="85770" y="3202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9" name="Freeform: Shape 1418">
              <a:extLst>
                <a:ext uri="{FF2B5EF4-FFF2-40B4-BE49-F238E27FC236}">
                  <a16:creationId xmlns:a16="http://schemas.microsoft.com/office/drawing/2014/main" id="{98D53192-AB99-445D-AF07-D09E713EFCD3}"/>
                </a:ext>
              </a:extLst>
            </p:cNvPr>
            <p:cNvSpPr/>
            <p:nvPr/>
          </p:nvSpPr>
          <p:spPr>
            <a:xfrm>
              <a:off x="9568365" y="1816805"/>
              <a:ext cx="85491" cy="34809"/>
            </a:xfrm>
            <a:custGeom>
              <a:avLst/>
              <a:gdLst>
                <a:gd name="connsiteX0" fmla="*/ 0 w 85491"/>
                <a:gd name="connsiteY0" fmla="*/ 0 h 34809"/>
                <a:gd name="connsiteX1" fmla="*/ 85491 w 85491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4809">
                  <a:moveTo>
                    <a:pt x="0" y="0"/>
                  </a:moveTo>
                  <a:lnTo>
                    <a:pt x="85491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0" name="Freeform: Shape 1419">
              <a:extLst>
                <a:ext uri="{FF2B5EF4-FFF2-40B4-BE49-F238E27FC236}">
                  <a16:creationId xmlns:a16="http://schemas.microsoft.com/office/drawing/2014/main" id="{85D631E0-2CB3-4EED-94F5-12BCAFCE127E}"/>
                </a:ext>
              </a:extLst>
            </p:cNvPr>
            <p:cNvSpPr/>
            <p:nvPr/>
          </p:nvSpPr>
          <p:spPr>
            <a:xfrm>
              <a:off x="1818434" y="4744124"/>
              <a:ext cx="82706" cy="40100"/>
            </a:xfrm>
            <a:custGeom>
              <a:avLst/>
              <a:gdLst>
                <a:gd name="connsiteX0" fmla="*/ 0 w 82706"/>
                <a:gd name="connsiteY0" fmla="*/ 0 h 40100"/>
                <a:gd name="connsiteX1" fmla="*/ 82707 w 8270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40100">
                  <a:moveTo>
                    <a:pt x="0" y="0"/>
                  </a:moveTo>
                  <a:lnTo>
                    <a:pt x="82707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1" name="Freeform: Shape 1420">
              <a:extLst>
                <a:ext uri="{FF2B5EF4-FFF2-40B4-BE49-F238E27FC236}">
                  <a16:creationId xmlns:a16="http://schemas.microsoft.com/office/drawing/2014/main" id="{BD0F68D8-4BB1-412E-93B8-BB3E4DD78244}"/>
                </a:ext>
              </a:extLst>
            </p:cNvPr>
            <p:cNvSpPr/>
            <p:nvPr/>
          </p:nvSpPr>
          <p:spPr>
            <a:xfrm>
              <a:off x="2500139" y="3621316"/>
              <a:ext cx="85491" cy="34809"/>
            </a:xfrm>
            <a:custGeom>
              <a:avLst/>
              <a:gdLst>
                <a:gd name="connsiteX0" fmla="*/ 85492 w 85491"/>
                <a:gd name="connsiteY0" fmla="*/ 34809 h 34809"/>
                <a:gd name="connsiteX1" fmla="*/ 0 w 85491"/>
                <a:gd name="connsiteY1" fmla="*/ 0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4809">
                  <a:moveTo>
                    <a:pt x="85492" y="3480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2" name="Freeform: Shape 1421">
              <a:extLst>
                <a:ext uri="{FF2B5EF4-FFF2-40B4-BE49-F238E27FC236}">
                  <a16:creationId xmlns:a16="http://schemas.microsoft.com/office/drawing/2014/main" id="{A44F6C76-0D53-469C-82C9-96A23E26F885}"/>
                </a:ext>
              </a:extLst>
            </p:cNvPr>
            <p:cNvSpPr/>
            <p:nvPr/>
          </p:nvSpPr>
          <p:spPr>
            <a:xfrm>
              <a:off x="2270119" y="3843260"/>
              <a:ext cx="85491" cy="37593"/>
            </a:xfrm>
            <a:custGeom>
              <a:avLst/>
              <a:gdLst>
                <a:gd name="connsiteX0" fmla="*/ 0 w 85491"/>
                <a:gd name="connsiteY0" fmla="*/ 0 h 37593"/>
                <a:gd name="connsiteX1" fmla="*/ 85492 w 85491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7593">
                  <a:moveTo>
                    <a:pt x="0" y="0"/>
                  </a:moveTo>
                  <a:lnTo>
                    <a:pt x="85492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3" name="Freeform: Shape 1422">
              <a:extLst>
                <a:ext uri="{FF2B5EF4-FFF2-40B4-BE49-F238E27FC236}">
                  <a16:creationId xmlns:a16="http://schemas.microsoft.com/office/drawing/2014/main" id="{C9C0B962-93E4-404D-8ACA-B004F9F31FE0}"/>
                </a:ext>
              </a:extLst>
            </p:cNvPr>
            <p:cNvSpPr/>
            <p:nvPr/>
          </p:nvSpPr>
          <p:spPr>
            <a:xfrm>
              <a:off x="2048175" y="4295224"/>
              <a:ext cx="82985" cy="32024"/>
            </a:xfrm>
            <a:custGeom>
              <a:avLst/>
              <a:gdLst>
                <a:gd name="connsiteX0" fmla="*/ 0 w 82985"/>
                <a:gd name="connsiteY0" fmla="*/ 0 h 32024"/>
                <a:gd name="connsiteX1" fmla="*/ 82985 w 82985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32024">
                  <a:moveTo>
                    <a:pt x="0" y="0"/>
                  </a:moveTo>
                  <a:lnTo>
                    <a:pt x="82985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5" name="Freeform: Shape 1424">
              <a:extLst>
                <a:ext uri="{FF2B5EF4-FFF2-40B4-BE49-F238E27FC236}">
                  <a16:creationId xmlns:a16="http://schemas.microsoft.com/office/drawing/2014/main" id="{49D4E52D-7A91-4FAF-819E-4BF0D4C1FB80}"/>
                </a:ext>
              </a:extLst>
            </p:cNvPr>
            <p:cNvSpPr/>
            <p:nvPr/>
          </p:nvSpPr>
          <p:spPr>
            <a:xfrm>
              <a:off x="1139236" y="2723238"/>
              <a:ext cx="82985" cy="29239"/>
            </a:xfrm>
            <a:custGeom>
              <a:avLst/>
              <a:gdLst>
                <a:gd name="connsiteX0" fmla="*/ 0 w 82985"/>
                <a:gd name="connsiteY0" fmla="*/ 0 h 29239"/>
                <a:gd name="connsiteX1" fmla="*/ 82985 w 82985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29239">
                  <a:moveTo>
                    <a:pt x="0" y="0"/>
                  </a:moveTo>
                  <a:lnTo>
                    <a:pt x="82985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6" name="Freeform: Shape 1425">
              <a:extLst>
                <a:ext uri="{FF2B5EF4-FFF2-40B4-BE49-F238E27FC236}">
                  <a16:creationId xmlns:a16="http://schemas.microsoft.com/office/drawing/2014/main" id="{A384DDFD-A71E-4177-98DF-0C956DB067FE}"/>
                </a:ext>
              </a:extLst>
            </p:cNvPr>
            <p:cNvSpPr/>
            <p:nvPr/>
          </p:nvSpPr>
          <p:spPr>
            <a:xfrm>
              <a:off x="5700083" y="472333"/>
              <a:ext cx="82706" cy="29239"/>
            </a:xfrm>
            <a:custGeom>
              <a:avLst/>
              <a:gdLst>
                <a:gd name="connsiteX0" fmla="*/ 0 w 82706"/>
                <a:gd name="connsiteY0" fmla="*/ 0 h 29239"/>
                <a:gd name="connsiteX1" fmla="*/ 82707 w 82706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29239">
                  <a:moveTo>
                    <a:pt x="0" y="0"/>
                  </a:moveTo>
                  <a:lnTo>
                    <a:pt x="82707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7" name="Freeform: Shape 1426">
              <a:extLst>
                <a:ext uri="{FF2B5EF4-FFF2-40B4-BE49-F238E27FC236}">
                  <a16:creationId xmlns:a16="http://schemas.microsoft.com/office/drawing/2014/main" id="{AA6A750C-4329-4081-8243-7FD1F1612372}"/>
                </a:ext>
              </a:extLst>
            </p:cNvPr>
            <p:cNvSpPr/>
            <p:nvPr/>
          </p:nvSpPr>
          <p:spPr>
            <a:xfrm>
              <a:off x="9800890" y="2044040"/>
              <a:ext cx="82985" cy="32302"/>
            </a:xfrm>
            <a:custGeom>
              <a:avLst/>
              <a:gdLst>
                <a:gd name="connsiteX0" fmla="*/ 0 w 82985"/>
                <a:gd name="connsiteY0" fmla="*/ 0 h 32302"/>
                <a:gd name="connsiteX1" fmla="*/ 82985 w 82985"/>
                <a:gd name="connsiteY1" fmla="*/ 32303 h 3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32302">
                  <a:moveTo>
                    <a:pt x="0" y="0"/>
                  </a:moveTo>
                  <a:lnTo>
                    <a:pt x="82985" y="323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8" name="Freeform: Shape 1427">
              <a:extLst>
                <a:ext uri="{FF2B5EF4-FFF2-40B4-BE49-F238E27FC236}">
                  <a16:creationId xmlns:a16="http://schemas.microsoft.com/office/drawing/2014/main" id="{A6E14772-F8B1-4CE6-9CDE-D5A6DF26D741}"/>
                </a:ext>
              </a:extLst>
            </p:cNvPr>
            <p:cNvSpPr/>
            <p:nvPr/>
          </p:nvSpPr>
          <p:spPr>
            <a:xfrm>
              <a:off x="8662210" y="1370411"/>
              <a:ext cx="82706" cy="34809"/>
            </a:xfrm>
            <a:custGeom>
              <a:avLst/>
              <a:gdLst>
                <a:gd name="connsiteX0" fmla="*/ 0 w 82706"/>
                <a:gd name="connsiteY0" fmla="*/ 0 h 34809"/>
                <a:gd name="connsiteX1" fmla="*/ 82707 w 8270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34809">
                  <a:moveTo>
                    <a:pt x="0" y="0"/>
                  </a:moveTo>
                  <a:lnTo>
                    <a:pt x="82707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9" name="Freeform: Shape 1428">
              <a:extLst>
                <a:ext uri="{FF2B5EF4-FFF2-40B4-BE49-F238E27FC236}">
                  <a16:creationId xmlns:a16="http://schemas.microsoft.com/office/drawing/2014/main" id="{14CF3D45-5909-4D22-A3B0-15A28F84D0E1}"/>
                </a:ext>
              </a:extLst>
            </p:cNvPr>
            <p:cNvSpPr/>
            <p:nvPr/>
          </p:nvSpPr>
          <p:spPr>
            <a:xfrm>
              <a:off x="676691" y="2490712"/>
              <a:ext cx="80200" cy="42606"/>
            </a:xfrm>
            <a:custGeom>
              <a:avLst/>
              <a:gdLst>
                <a:gd name="connsiteX0" fmla="*/ 0 w 80200"/>
                <a:gd name="connsiteY0" fmla="*/ 0 h 42606"/>
                <a:gd name="connsiteX1" fmla="*/ 80200 w 80200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42606">
                  <a:moveTo>
                    <a:pt x="0" y="0"/>
                  </a:moveTo>
                  <a:lnTo>
                    <a:pt x="80200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0" name="Freeform: Shape 1429">
              <a:extLst>
                <a:ext uri="{FF2B5EF4-FFF2-40B4-BE49-F238E27FC236}">
                  <a16:creationId xmlns:a16="http://schemas.microsoft.com/office/drawing/2014/main" id="{C78EC2B8-A58B-467D-8D1E-A96CAB5DD8AD}"/>
                </a:ext>
              </a:extLst>
            </p:cNvPr>
            <p:cNvSpPr/>
            <p:nvPr/>
          </p:nvSpPr>
          <p:spPr>
            <a:xfrm>
              <a:off x="6606237" y="921233"/>
              <a:ext cx="80200" cy="34809"/>
            </a:xfrm>
            <a:custGeom>
              <a:avLst/>
              <a:gdLst>
                <a:gd name="connsiteX0" fmla="*/ 80201 w 80200"/>
                <a:gd name="connsiteY0" fmla="*/ 34809 h 34809"/>
                <a:gd name="connsiteX1" fmla="*/ 0 w 80200"/>
                <a:gd name="connsiteY1" fmla="*/ 0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4809">
                  <a:moveTo>
                    <a:pt x="80201" y="3480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1" name="Freeform: Shape 1430">
              <a:extLst>
                <a:ext uri="{FF2B5EF4-FFF2-40B4-BE49-F238E27FC236}">
                  <a16:creationId xmlns:a16="http://schemas.microsoft.com/office/drawing/2014/main" id="{121D0C9E-25CC-4ED7-B81B-92EE43BB66BB}"/>
                </a:ext>
              </a:extLst>
            </p:cNvPr>
            <p:cNvSpPr/>
            <p:nvPr/>
          </p:nvSpPr>
          <p:spPr>
            <a:xfrm>
              <a:off x="9798384" y="5420537"/>
              <a:ext cx="80200" cy="37593"/>
            </a:xfrm>
            <a:custGeom>
              <a:avLst/>
              <a:gdLst>
                <a:gd name="connsiteX0" fmla="*/ 0 w 80200"/>
                <a:gd name="connsiteY0" fmla="*/ 0 h 37593"/>
                <a:gd name="connsiteX1" fmla="*/ 80200 w 80200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7593">
                  <a:moveTo>
                    <a:pt x="0" y="0"/>
                  </a:moveTo>
                  <a:lnTo>
                    <a:pt x="8020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2" name="Freeform: Shape 1431">
              <a:extLst>
                <a:ext uri="{FF2B5EF4-FFF2-40B4-BE49-F238E27FC236}">
                  <a16:creationId xmlns:a16="http://schemas.microsoft.com/office/drawing/2014/main" id="{25106E7D-009D-4495-B8F7-8F8415A5B752}"/>
                </a:ext>
              </a:extLst>
            </p:cNvPr>
            <p:cNvSpPr/>
            <p:nvPr/>
          </p:nvSpPr>
          <p:spPr>
            <a:xfrm>
              <a:off x="10030910" y="2268768"/>
              <a:ext cx="77415" cy="40100"/>
            </a:xfrm>
            <a:custGeom>
              <a:avLst/>
              <a:gdLst>
                <a:gd name="connsiteX0" fmla="*/ 0 w 77415"/>
                <a:gd name="connsiteY0" fmla="*/ 0 h 40100"/>
                <a:gd name="connsiteX1" fmla="*/ 77415 w 77415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40100">
                  <a:moveTo>
                    <a:pt x="0" y="0"/>
                  </a:moveTo>
                  <a:lnTo>
                    <a:pt x="7741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3" name="Freeform: Shape 1432">
              <a:extLst>
                <a:ext uri="{FF2B5EF4-FFF2-40B4-BE49-F238E27FC236}">
                  <a16:creationId xmlns:a16="http://schemas.microsoft.com/office/drawing/2014/main" id="{9542211A-ECC1-4616-BBAF-AD0529AF3776}"/>
                </a:ext>
              </a:extLst>
            </p:cNvPr>
            <p:cNvSpPr/>
            <p:nvPr/>
          </p:nvSpPr>
          <p:spPr>
            <a:xfrm>
              <a:off x="1585630" y="5196087"/>
              <a:ext cx="80200" cy="37315"/>
            </a:xfrm>
            <a:custGeom>
              <a:avLst/>
              <a:gdLst>
                <a:gd name="connsiteX0" fmla="*/ 0 w 80200"/>
                <a:gd name="connsiteY0" fmla="*/ 0 h 37315"/>
                <a:gd name="connsiteX1" fmla="*/ 80201 w 80200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7315">
                  <a:moveTo>
                    <a:pt x="0" y="0"/>
                  </a:moveTo>
                  <a:lnTo>
                    <a:pt x="80201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4" name="Freeform: Shape 1433">
              <a:extLst>
                <a:ext uri="{FF2B5EF4-FFF2-40B4-BE49-F238E27FC236}">
                  <a16:creationId xmlns:a16="http://schemas.microsoft.com/office/drawing/2014/main" id="{4638BA45-4BB8-41DC-822B-00BB0DC2220B}"/>
                </a:ext>
              </a:extLst>
            </p:cNvPr>
            <p:cNvSpPr/>
            <p:nvPr/>
          </p:nvSpPr>
          <p:spPr>
            <a:xfrm>
              <a:off x="10028125" y="5196087"/>
              <a:ext cx="80200" cy="37315"/>
            </a:xfrm>
            <a:custGeom>
              <a:avLst/>
              <a:gdLst>
                <a:gd name="connsiteX0" fmla="*/ 0 w 80200"/>
                <a:gd name="connsiteY0" fmla="*/ 0 h 37315"/>
                <a:gd name="connsiteX1" fmla="*/ 80200 w 80200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7315">
                  <a:moveTo>
                    <a:pt x="0" y="0"/>
                  </a:moveTo>
                  <a:lnTo>
                    <a:pt x="80200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5" name="Freeform: Shape 1434">
              <a:extLst>
                <a:ext uri="{FF2B5EF4-FFF2-40B4-BE49-F238E27FC236}">
                  <a16:creationId xmlns:a16="http://schemas.microsoft.com/office/drawing/2014/main" id="{0A68E744-EE11-4350-88C3-F71B1F671F15}"/>
                </a:ext>
              </a:extLst>
            </p:cNvPr>
            <p:cNvSpPr/>
            <p:nvPr/>
          </p:nvSpPr>
          <p:spPr>
            <a:xfrm>
              <a:off x="1361180" y="2945182"/>
              <a:ext cx="80200" cy="37315"/>
            </a:xfrm>
            <a:custGeom>
              <a:avLst/>
              <a:gdLst>
                <a:gd name="connsiteX0" fmla="*/ 0 w 80200"/>
                <a:gd name="connsiteY0" fmla="*/ 0 h 37315"/>
                <a:gd name="connsiteX1" fmla="*/ 80200 w 80200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7315">
                  <a:moveTo>
                    <a:pt x="0" y="0"/>
                  </a:moveTo>
                  <a:lnTo>
                    <a:pt x="80200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6" name="Freeform: Shape 1435">
              <a:extLst>
                <a:ext uri="{FF2B5EF4-FFF2-40B4-BE49-F238E27FC236}">
                  <a16:creationId xmlns:a16="http://schemas.microsoft.com/office/drawing/2014/main" id="{D95613B9-63DA-437A-9742-880EA39E5C4B}"/>
                </a:ext>
              </a:extLst>
            </p:cNvPr>
            <p:cNvSpPr/>
            <p:nvPr/>
          </p:nvSpPr>
          <p:spPr>
            <a:xfrm>
              <a:off x="5922027" y="469548"/>
              <a:ext cx="74631" cy="42884"/>
            </a:xfrm>
            <a:custGeom>
              <a:avLst/>
              <a:gdLst>
                <a:gd name="connsiteX0" fmla="*/ 0 w 74631"/>
                <a:gd name="connsiteY0" fmla="*/ 0 h 42884"/>
                <a:gd name="connsiteX1" fmla="*/ 74631 w 7463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631" h="42884">
                  <a:moveTo>
                    <a:pt x="0" y="0"/>
                  </a:moveTo>
                  <a:lnTo>
                    <a:pt x="74631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7" name="Freeform: Shape 1436">
              <a:extLst>
                <a:ext uri="{FF2B5EF4-FFF2-40B4-BE49-F238E27FC236}">
                  <a16:creationId xmlns:a16="http://schemas.microsoft.com/office/drawing/2014/main" id="{3AB0D695-EEE7-4397-BF4A-86DEE472F5BD}"/>
                </a:ext>
              </a:extLst>
            </p:cNvPr>
            <p:cNvSpPr/>
            <p:nvPr/>
          </p:nvSpPr>
          <p:spPr>
            <a:xfrm>
              <a:off x="7060707" y="1143177"/>
              <a:ext cx="77694" cy="40100"/>
            </a:xfrm>
            <a:custGeom>
              <a:avLst/>
              <a:gdLst>
                <a:gd name="connsiteX0" fmla="*/ 0 w 77694"/>
                <a:gd name="connsiteY0" fmla="*/ 0 h 40100"/>
                <a:gd name="connsiteX1" fmla="*/ 77694 w 7769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40100">
                  <a:moveTo>
                    <a:pt x="0" y="0"/>
                  </a:moveTo>
                  <a:lnTo>
                    <a:pt x="7769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8" name="Freeform: Shape 1437">
              <a:extLst>
                <a:ext uri="{FF2B5EF4-FFF2-40B4-BE49-F238E27FC236}">
                  <a16:creationId xmlns:a16="http://schemas.microsoft.com/office/drawing/2014/main" id="{DADC9361-E9F0-4E26-BA93-C0A0078AFD67}"/>
                </a:ext>
              </a:extLst>
            </p:cNvPr>
            <p:cNvSpPr/>
            <p:nvPr/>
          </p:nvSpPr>
          <p:spPr>
            <a:xfrm>
              <a:off x="10260651" y="2720453"/>
              <a:ext cx="77694" cy="34809"/>
            </a:xfrm>
            <a:custGeom>
              <a:avLst/>
              <a:gdLst>
                <a:gd name="connsiteX0" fmla="*/ 0 w 77694"/>
                <a:gd name="connsiteY0" fmla="*/ 0 h 34809"/>
                <a:gd name="connsiteX1" fmla="*/ 77694 w 77694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34809">
                  <a:moveTo>
                    <a:pt x="0" y="0"/>
                  </a:moveTo>
                  <a:lnTo>
                    <a:pt x="77694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9" name="Freeform: Shape 1438">
              <a:extLst>
                <a:ext uri="{FF2B5EF4-FFF2-40B4-BE49-F238E27FC236}">
                  <a16:creationId xmlns:a16="http://schemas.microsoft.com/office/drawing/2014/main" id="{5229A553-BF41-4E53-A8CC-5ABFD7FDCA75}"/>
                </a:ext>
              </a:extLst>
            </p:cNvPr>
            <p:cNvSpPr/>
            <p:nvPr/>
          </p:nvSpPr>
          <p:spPr>
            <a:xfrm>
              <a:off x="2048175" y="4070495"/>
              <a:ext cx="77694" cy="40100"/>
            </a:xfrm>
            <a:custGeom>
              <a:avLst/>
              <a:gdLst>
                <a:gd name="connsiteX0" fmla="*/ 0 w 77694"/>
                <a:gd name="connsiteY0" fmla="*/ 0 h 40100"/>
                <a:gd name="connsiteX1" fmla="*/ 77694 w 7769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40100">
                  <a:moveTo>
                    <a:pt x="0" y="0"/>
                  </a:moveTo>
                  <a:lnTo>
                    <a:pt x="7769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0" name="Freeform: Shape 1439">
              <a:extLst>
                <a:ext uri="{FF2B5EF4-FFF2-40B4-BE49-F238E27FC236}">
                  <a16:creationId xmlns:a16="http://schemas.microsoft.com/office/drawing/2014/main" id="{7A70EFA4-35F8-468E-87FB-30CAD87706A6}"/>
                </a:ext>
              </a:extLst>
            </p:cNvPr>
            <p:cNvSpPr/>
            <p:nvPr/>
          </p:nvSpPr>
          <p:spPr>
            <a:xfrm>
              <a:off x="8883876" y="1367905"/>
              <a:ext cx="77694" cy="40100"/>
            </a:xfrm>
            <a:custGeom>
              <a:avLst/>
              <a:gdLst>
                <a:gd name="connsiteX0" fmla="*/ 0 w 77694"/>
                <a:gd name="connsiteY0" fmla="*/ 0 h 40100"/>
                <a:gd name="connsiteX1" fmla="*/ 77695 w 7769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40100">
                  <a:moveTo>
                    <a:pt x="0" y="0"/>
                  </a:moveTo>
                  <a:lnTo>
                    <a:pt x="7769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1" name="Freeform: Shape 1440">
              <a:extLst>
                <a:ext uri="{FF2B5EF4-FFF2-40B4-BE49-F238E27FC236}">
                  <a16:creationId xmlns:a16="http://schemas.microsoft.com/office/drawing/2014/main" id="{BEDD4D12-1A11-4985-88C5-E6F02157DDE9}"/>
                </a:ext>
              </a:extLst>
            </p:cNvPr>
            <p:cNvSpPr/>
            <p:nvPr/>
          </p:nvSpPr>
          <p:spPr>
            <a:xfrm>
              <a:off x="6151768" y="696783"/>
              <a:ext cx="77694" cy="32024"/>
            </a:xfrm>
            <a:custGeom>
              <a:avLst/>
              <a:gdLst>
                <a:gd name="connsiteX0" fmla="*/ 77694 w 77694"/>
                <a:gd name="connsiteY0" fmla="*/ 32025 h 32024"/>
                <a:gd name="connsiteX1" fmla="*/ 0 w 77694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32024">
                  <a:moveTo>
                    <a:pt x="77694" y="3202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2" name="Freeform: Shape 1441">
              <a:extLst>
                <a:ext uri="{FF2B5EF4-FFF2-40B4-BE49-F238E27FC236}">
                  <a16:creationId xmlns:a16="http://schemas.microsoft.com/office/drawing/2014/main" id="{4F14D66C-B69B-4D4F-B20F-6CF8A0194012}"/>
                </a:ext>
              </a:extLst>
            </p:cNvPr>
            <p:cNvSpPr/>
            <p:nvPr/>
          </p:nvSpPr>
          <p:spPr>
            <a:xfrm>
              <a:off x="9568365" y="5645265"/>
              <a:ext cx="77415" cy="40100"/>
            </a:xfrm>
            <a:custGeom>
              <a:avLst/>
              <a:gdLst>
                <a:gd name="connsiteX0" fmla="*/ 0 w 77415"/>
                <a:gd name="connsiteY0" fmla="*/ 0 h 40100"/>
                <a:gd name="connsiteX1" fmla="*/ 77416 w 77415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40100">
                  <a:moveTo>
                    <a:pt x="0" y="0"/>
                  </a:moveTo>
                  <a:lnTo>
                    <a:pt x="77416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3" name="Freeform: Shape 1442">
              <a:extLst>
                <a:ext uri="{FF2B5EF4-FFF2-40B4-BE49-F238E27FC236}">
                  <a16:creationId xmlns:a16="http://schemas.microsoft.com/office/drawing/2014/main" id="{6CDA2980-6293-4125-88AE-F4FE6EF83221}"/>
                </a:ext>
              </a:extLst>
            </p:cNvPr>
            <p:cNvSpPr/>
            <p:nvPr/>
          </p:nvSpPr>
          <p:spPr>
            <a:xfrm>
              <a:off x="6376496" y="693998"/>
              <a:ext cx="74631" cy="42884"/>
            </a:xfrm>
            <a:custGeom>
              <a:avLst/>
              <a:gdLst>
                <a:gd name="connsiteX0" fmla="*/ 0 w 74631"/>
                <a:gd name="connsiteY0" fmla="*/ 0 h 42884"/>
                <a:gd name="connsiteX1" fmla="*/ 74631 w 7463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631" h="42884">
                  <a:moveTo>
                    <a:pt x="0" y="0"/>
                  </a:moveTo>
                  <a:lnTo>
                    <a:pt x="74631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4" name="Freeform: Shape 1443">
              <a:extLst>
                <a:ext uri="{FF2B5EF4-FFF2-40B4-BE49-F238E27FC236}">
                  <a16:creationId xmlns:a16="http://schemas.microsoft.com/office/drawing/2014/main" id="{F7157D5B-1C5E-4B7A-84C6-E6B8A9B247B1}"/>
                </a:ext>
              </a:extLst>
            </p:cNvPr>
            <p:cNvSpPr/>
            <p:nvPr/>
          </p:nvSpPr>
          <p:spPr>
            <a:xfrm>
              <a:off x="9346421" y="1595140"/>
              <a:ext cx="74909" cy="37315"/>
            </a:xfrm>
            <a:custGeom>
              <a:avLst/>
              <a:gdLst>
                <a:gd name="connsiteX0" fmla="*/ 0 w 74909"/>
                <a:gd name="connsiteY0" fmla="*/ 0 h 37315"/>
                <a:gd name="connsiteX1" fmla="*/ 74909 w 74909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37315">
                  <a:moveTo>
                    <a:pt x="0" y="0"/>
                  </a:moveTo>
                  <a:lnTo>
                    <a:pt x="74909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5" name="Freeform: Shape 1444">
              <a:extLst>
                <a:ext uri="{FF2B5EF4-FFF2-40B4-BE49-F238E27FC236}">
                  <a16:creationId xmlns:a16="http://schemas.microsoft.com/office/drawing/2014/main" id="{9A0FD0F0-1536-486B-BEB4-895772B55219}"/>
                </a:ext>
              </a:extLst>
            </p:cNvPr>
            <p:cNvSpPr/>
            <p:nvPr/>
          </p:nvSpPr>
          <p:spPr>
            <a:xfrm>
              <a:off x="10260651" y="4746908"/>
              <a:ext cx="74909" cy="34809"/>
            </a:xfrm>
            <a:custGeom>
              <a:avLst/>
              <a:gdLst>
                <a:gd name="connsiteX0" fmla="*/ 0 w 74909"/>
                <a:gd name="connsiteY0" fmla="*/ 0 h 34809"/>
                <a:gd name="connsiteX1" fmla="*/ 74909 w 74909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34809">
                  <a:moveTo>
                    <a:pt x="0" y="0"/>
                  </a:moveTo>
                  <a:lnTo>
                    <a:pt x="74909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6" name="Freeform: Shape 1445">
              <a:extLst>
                <a:ext uri="{FF2B5EF4-FFF2-40B4-BE49-F238E27FC236}">
                  <a16:creationId xmlns:a16="http://schemas.microsoft.com/office/drawing/2014/main" id="{5BE83520-FFBF-4B42-AC27-A1782139A6F8}"/>
                </a:ext>
              </a:extLst>
            </p:cNvPr>
            <p:cNvSpPr/>
            <p:nvPr/>
          </p:nvSpPr>
          <p:spPr>
            <a:xfrm>
              <a:off x="1818434" y="4519674"/>
              <a:ext cx="74631" cy="37315"/>
            </a:xfrm>
            <a:custGeom>
              <a:avLst/>
              <a:gdLst>
                <a:gd name="connsiteX0" fmla="*/ 0 w 74631"/>
                <a:gd name="connsiteY0" fmla="*/ 0 h 37315"/>
                <a:gd name="connsiteX1" fmla="*/ 74631 w 74631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631" h="37315">
                  <a:moveTo>
                    <a:pt x="0" y="0"/>
                  </a:moveTo>
                  <a:lnTo>
                    <a:pt x="74631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7" name="Freeform: Shape 1446">
              <a:extLst>
                <a:ext uri="{FF2B5EF4-FFF2-40B4-BE49-F238E27FC236}">
                  <a16:creationId xmlns:a16="http://schemas.microsoft.com/office/drawing/2014/main" id="{D371872F-9CED-4C20-A2CF-8ED087C38E3B}"/>
                </a:ext>
              </a:extLst>
            </p:cNvPr>
            <p:cNvSpPr/>
            <p:nvPr/>
          </p:nvSpPr>
          <p:spPr>
            <a:xfrm>
              <a:off x="1585630" y="3169632"/>
              <a:ext cx="74909" cy="42884"/>
            </a:xfrm>
            <a:custGeom>
              <a:avLst/>
              <a:gdLst>
                <a:gd name="connsiteX0" fmla="*/ 0 w 74909"/>
                <a:gd name="connsiteY0" fmla="*/ 0 h 42884"/>
                <a:gd name="connsiteX1" fmla="*/ 74909 w 74909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42884">
                  <a:moveTo>
                    <a:pt x="0" y="0"/>
                  </a:moveTo>
                  <a:lnTo>
                    <a:pt x="74909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8" name="Freeform: Shape 1447">
              <a:extLst>
                <a:ext uri="{FF2B5EF4-FFF2-40B4-BE49-F238E27FC236}">
                  <a16:creationId xmlns:a16="http://schemas.microsoft.com/office/drawing/2014/main" id="{4BFB0A0A-BBBA-4ED9-B2A0-F1AB13DD4775}"/>
                </a:ext>
              </a:extLst>
            </p:cNvPr>
            <p:cNvSpPr/>
            <p:nvPr/>
          </p:nvSpPr>
          <p:spPr>
            <a:xfrm>
              <a:off x="2270119" y="3618810"/>
              <a:ext cx="74909" cy="42606"/>
            </a:xfrm>
            <a:custGeom>
              <a:avLst/>
              <a:gdLst>
                <a:gd name="connsiteX0" fmla="*/ 0 w 74909"/>
                <a:gd name="connsiteY0" fmla="*/ 0 h 42606"/>
                <a:gd name="connsiteX1" fmla="*/ 74909 w 74909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42606">
                  <a:moveTo>
                    <a:pt x="0" y="0"/>
                  </a:moveTo>
                  <a:lnTo>
                    <a:pt x="74909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9" name="Freeform: Shape 1448">
              <a:extLst>
                <a:ext uri="{FF2B5EF4-FFF2-40B4-BE49-F238E27FC236}">
                  <a16:creationId xmlns:a16="http://schemas.microsoft.com/office/drawing/2014/main" id="{39C1B994-84BD-44EA-8FA2-27E76A1547F1}"/>
                </a:ext>
              </a:extLst>
            </p:cNvPr>
            <p:cNvSpPr/>
            <p:nvPr/>
          </p:nvSpPr>
          <p:spPr>
            <a:xfrm>
              <a:off x="10252854" y="4971358"/>
              <a:ext cx="72124" cy="40100"/>
            </a:xfrm>
            <a:custGeom>
              <a:avLst/>
              <a:gdLst>
                <a:gd name="connsiteX0" fmla="*/ 0 w 72124"/>
                <a:gd name="connsiteY0" fmla="*/ 0 h 40100"/>
                <a:gd name="connsiteX1" fmla="*/ 72125 w 7212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40100">
                  <a:moveTo>
                    <a:pt x="0" y="0"/>
                  </a:moveTo>
                  <a:lnTo>
                    <a:pt x="7212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0" name="Freeform: Shape 1449">
              <a:extLst>
                <a:ext uri="{FF2B5EF4-FFF2-40B4-BE49-F238E27FC236}">
                  <a16:creationId xmlns:a16="http://schemas.microsoft.com/office/drawing/2014/main" id="{9BAF845B-BBE8-49BD-AE4C-DC912E22F14C}"/>
                </a:ext>
              </a:extLst>
            </p:cNvPr>
            <p:cNvSpPr/>
            <p:nvPr/>
          </p:nvSpPr>
          <p:spPr>
            <a:xfrm>
              <a:off x="901420" y="2720453"/>
              <a:ext cx="72124" cy="40100"/>
            </a:xfrm>
            <a:custGeom>
              <a:avLst/>
              <a:gdLst>
                <a:gd name="connsiteX0" fmla="*/ 0 w 72124"/>
                <a:gd name="connsiteY0" fmla="*/ 0 h 40100"/>
                <a:gd name="connsiteX1" fmla="*/ 72125 w 7212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40100">
                  <a:moveTo>
                    <a:pt x="0" y="0"/>
                  </a:moveTo>
                  <a:lnTo>
                    <a:pt x="7212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1" name="Freeform: Shape 1450">
              <a:extLst>
                <a:ext uri="{FF2B5EF4-FFF2-40B4-BE49-F238E27FC236}">
                  <a16:creationId xmlns:a16="http://schemas.microsoft.com/office/drawing/2014/main" id="{20F95360-2695-4D25-8BAB-1360A2CF018C}"/>
                </a:ext>
              </a:extLst>
            </p:cNvPr>
            <p:cNvSpPr/>
            <p:nvPr/>
          </p:nvSpPr>
          <p:spPr>
            <a:xfrm>
              <a:off x="10260651" y="2498509"/>
              <a:ext cx="72403" cy="34809"/>
            </a:xfrm>
            <a:custGeom>
              <a:avLst/>
              <a:gdLst>
                <a:gd name="connsiteX0" fmla="*/ 0 w 72403"/>
                <a:gd name="connsiteY0" fmla="*/ 0 h 34809"/>
                <a:gd name="connsiteX1" fmla="*/ 72404 w 72403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403" h="34809">
                  <a:moveTo>
                    <a:pt x="0" y="0"/>
                  </a:moveTo>
                  <a:lnTo>
                    <a:pt x="72404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2" name="Freeform: Shape 1451">
              <a:extLst>
                <a:ext uri="{FF2B5EF4-FFF2-40B4-BE49-F238E27FC236}">
                  <a16:creationId xmlns:a16="http://schemas.microsoft.com/office/drawing/2014/main" id="{5BC39419-06DD-4345-9AD2-F3CC984ECABD}"/>
                </a:ext>
              </a:extLst>
            </p:cNvPr>
            <p:cNvSpPr/>
            <p:nvPr/>
          </p:nvSpPr>
          <p:spPr>
            <a:xfrm>
              <a:off x="2048175" y="3396866"/>
              <a:ext cx="69618" cy="37315"/>
            </a:xfrm>
            <a:custGeom>
              <a:avLst/>
              <a:gdLst>
                <a:gd name="connsiteX0" fmla="*/ 0 w 69618"/>
                <a:gd name="connsiteY0" fmla="*/ 0 h 37315"/>
                <a:gd name="connsiteX1" fmla="*/ 69618 w 69618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37315">
                  <a:moveTo>
                    <a:pt x="0" y="0"/>
                  </a:moveTo>
                  <a:lnTo>
                    <a:pt x="69618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3" name="Freeform: Shape 1452">
              <a:extLst>
                <a:ext uri="{FF2B5EF4-FFF2-40B4-BE49-F238E27FC236}">
                  <a16:creationId xmlns:a16="http://schemas.microsoft.com/office/drawing/2014/main" id="{CB167115-04C5-473A-B6C8-02A62B8E9B07}"/>
                </a:ext>
              </a:extLst>
            </p:cNvPr>
            <p:cNvSpPr/>
            <p:nvPr/>
          </p:nvSpPr>
          <p:spPr>
            <a:xfrm>
              <a:off x="9800890" y="1819590"/>
              <a:ext cx="66833" cy="45391"/>
            </a:xfrm>
            <a:custGeom>
              <a:avLst/>
              <a:gdLst>
                <a:gd name="connsiteX0" fmla="*/ 0 w 66833"/>
                <a:gd name="connsiteY0" fmla="*/ 0 h 45391"/>
                <a:gd name="connsiteX1" fmla="*/ 66834 w 6683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5391">
                  <a:moveTo>
                    <a:pt x="0" y="0"/>
                  </a:moveTo>
                  <a:lnTo>
                    <a:pt x="6683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4" name="Freeform: Shape 1453">
              <a:extLst>
                <a:ext uri="{FF2B5EF4-FFF2-40B4-BE49-F238E27FC236}">
                  <a16:creationId xmlns:a16="http://schemas.microsoft.com/office/drawing/2014/main" id="{CEDA6B9D-6DA7-4F3A-B220-558E5F4B409F}"/>
                </a:ext>
              </a:extLst>
            </p:cNvPr>
            <p:cNvSpPr/>
            <p:nvPr/>
          </p:nvSpPr>
          <p:spPr>
            <a:xfrm>
              <a:off x="1593706" y="4974143"/>
              <a:ext cx="66833" cy="40100"/>
            </a:xfrm>
            <a:custGeom>
              <a:avLst/>
              <a:gdLst>
                <a:gd name="connsiteX0" fmla="*/ 0 w 66833"/>
                <a:gd name="connsiteY0" fmla="*/ 0 h 40100"/>
                <a:gd name="connsiteX1" fmla="*/ 66834 w 66833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0100">
                  <a:moveTo>
                    <a:pt x="0" y="0"/>
                  </a:moveTo>
                  <a:lnTo>
                    <a:pt x="6683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5" name="Freeform: Shape 1454">
              <a:extLst>
                <a:ext uri="{FF2B5EF4-FFF2-40B4-BE49-F238E27FC236}">
                  <a16:creationId xmlns:a16="http://schemas.microsoft.com/office/drawing/2014/main" id="{B96498F6-B41F-4BF6-A303-BB34DC2F949C}"/>
                </a:ext>
              </a:extLst>
            </p:cNvPr>
            <p:cNvSpPr/>
            <p:nvPr/>
          </p:nvSpPr>
          <p:spPr>
            <a:xfrm>
              <a:off x="9116680" y="1370411"/>
              <a:ext cx="66833" cy="45391"/>
            </a:xfrm>
            <a:custGeom>
              <a:avLst/>
              <a:gdLst>
                <a:gd name="connsiteX0" fmla="*/ 0 w 66833"/>
                <a:gd name="connsiteY0" fmla="*/ 0 h 45391"/>
                <a:gd name="connsiteX1" fmla="*/ 66834 w 6683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5391">
                  <a:moveTo>
                    <a:pt x="0" y="0"/>
                  </a:moveTo>
                  <a:lnTo>
                    <a:pt x="6683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6" name="Freeform: Shape 1455">
              <a:extLst>
                <a:ext uri="{FF2B5EF4-FFF2-40B4-BE49-F238E27FC236}">
                  <a16:creationId xmlns:a16="http://schemas.microsoft.com/office/drawing/2014/main" id="{DE52072F-8CF7-448E-A542-50E8B0EAFC08}"/>
                </a:ext>
              </a:extLst>
            </p:cNvPr>
            <p:cNvSpPr/>
            <p:nvPr/>
          </p:nvSpPr>
          <p:spPr>
            <a:xfrm>
              <a:off x="10028125" y="2041534"/>
              <a:ext cx="66833" cy="45391"/>
            </a:xfrm>
            <a:custGeom>
              <a:avLst/>
              <a:gdLst>
                <a:gd name="connsiteX0" fmla="*/ 0 w 66833"/>
                <a:gd name="connsiteY0" fmla="*/ 0 h 45391"/>
                <a:gd name="connsiteX1" fmla="*/ 66834 w 6683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5391">
                  <a:moveTo>
                    <a:pt x="0" y="0"/>
                  </a:moveTo>
                  <a:lnTo>
                    <a:pt x="6683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8" name="Freeform: Shape 1457">
              <a:extLst>
                <a:ext uri="{FF2B5EF4-FFF2-40B4-BE49-F238E27FC236}">
                  <a16:creationId xmlns:a16="http://schemas.microsoft.com/office/drawing/2014/main" id="{92EDB09F-45ED-43D5-B6B0-9171AF2D4246}"/>
                </a:ext>
              </a:extLst>
            </p:cNvPr>
            <p:cNvSpPr/>
            <p:nvPr/>
          </p:nvSpPr>
          <p:spPr>
            <a:xfrm>
              <a:off x="1818434" y="4295224"/>
              <a:ext cx="66833" cy="40100"/>
            </a:xfrm>
            <a:custGeom>
              <a:avLst/>
              <a:gdLst>
                <a:gd name="connsiteX0" fmla="*/ 0 w 66833"/>
                <a:gd name="connsiteY0" fmla="*/ 0 h 40100"/>
                <a:gd name="connsiteX1" fmla="*/ 66834 w 66833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0100">
                  <a:moveTo>
                    <a:pt x="0" y="0"/>
                  </a:moveTo>
                  <a:lnTo>
                    <a:pt x="6683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9" name="Freeform: Shape 1458">
              <a:extLst>
                <a:ext uri="{FF2B5EF4-FFF2-40B4-BE49-F238E27FC236}">
                  <a16:creationId xmlns:a16="http://schemas.microsoft.com/office/drawing/2014/main" id="{594FFFCC-9EF1-4EF1-98CF-C1EDCAA7F2BC}"/>
                </a:ext>
              </a:extLst>
            </p:cNvPr>
            <p:cNvSpPr/>
            <p:nvPr/>
          </p:nvSpPr>
          <p:spPr>
            <a:xfrm>
              <a:off x="7293232" y="1145961"/>
              <a:ext cx="66833" cy="37315"/>
            </a:xfrm>
            <a:custGeom>
              <a:avLst/>
              <a:gdLst>
                <a:gd name="connsiteX0" fmla="*/ 0 w 66833"/>
                <a:gd name="connsiteY0" fmla="*/ 0 h 37315"/>
                <a:gd name="connsiteX1" fmla="*/ 66834 w 66833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37315">
                  <a:moveTo>
                    <a:pt x="0" y="0"/>
                  </a:moveTo>
                  <a:lnTo>
                    <a:pt x="66834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0" name="Freeform: Shape 1459">
              <a:extLst>
                <a:ext uri="{FF2B5EF4-FFF2-40B4-BE49-F238E27FC236}">
                  <a16:creationId xmlns:a16="http://schemas.microsoft.com/office/drawing/2014/main" id="{11B20EED-FA11-41BA-803A-217383AD3917}"/>
                </a:ext>
              </a:extLst>
            </p:cNvPr>
            <p:cNvSpPr/>
            <p:nvPr/>
          </p:nvSpPr>
          <p:spPr>
            <a:xfrm>
              <a:off x="6838763" y="921233"/>
              <a:ext cx="66833" cy="40100"/>
            </a:xfrm>
            <a:custGeom>
              <a:avLst/>
              <a:gdLst>
                <a:gd name="connsiteX0" fmla="*/ 0 w 66833"/>
                <a:gd name="connsiteY0" fmla="*/ 0 h 40100"/>
                <a:gd name="connsiteX1" fmla="*/ 66834 w 66833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0100">
                  <a:moveTo>
                    <a:pt x="0" y="0"/>
                  </a:moveTo>
                  <a:lnTo>
                    <a:pt x="6683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1" name="Freeform: Shape 1460">
              <a:extLst>
                <a:ext uri="{FF2B5EF4-FFF2-40B4-BE49-F238E27FC236}">
                  <a16:creationId xmlns:a16="http://schemas.microsoft.com/office/drawing/2014/main" id="{5E52BFEE-6246-428B-96C2-8B3DBC32AB9D}"/>
                </a:ext>
              </a:extLst>
            </p:cNvPr>
            <p:cNvSpPr/>
            <p:nvPr/>
          </p:nvSpPr>
          <p:spPr>
            <a:xfrm>
              <a:off x="8432191" y="1145961"/>
              <a:ext cx="61542" cy="45391"/>
            </a:xfrm>
            <a:custGeom>
              <a:avLst/>
              <a:gdLst>
                <a:gd name="connsiteX0" fmla="*/ 0 w 61542"/>
                <a:gd name="connsiteY0" fmla="*/ 0 h 45391"/>
                <a:gd name="connsiteX1" fmla="*/ 61543 w 6154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5391">
                  <a:moveTo>
                    <a:pt x="0" y="0"/>
                  </a:moveTo>
                  <a:lnTo>
                    <a:pt x="6154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2" name="Freeform: Shape 1461">
              <a:extLst>
                <a:ext uri="{FF2B5EF4-FFF2-40B4-BE49-F238E27FC236}">
                  <a16:creationId xmlns:a16="http://schemas.microsoft.com/office/drawing/2014/main" id="{8A738797-3BF7-402F-A953-D3F1161D5B2A}"/>
                </a:ext>
              </a:extLst>
            </p:cNvPr>
            <p:cNvSpPr/>
            <p:nvPr/>
          </p:nvSpPr>
          <p:spPr>
            <a:xfrm>
              <a:off x="9573656" y="1592355"/>
              <a:ext cx="61542" cy="45391"/>
            </a:xfrm>
            <a:custGeom>
              <a:avLst/>
              <a:gdLst>
                <a:gd name="connsiteX0" fmla="*/ 0 w 61542"/>
                <a:gd name="connsiteY0" fmla="*/ 0 h 45391"/>
                <a:gd name="connsiteX1" fmla="*/ 61543 w 6154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5391">
                  <a:moveTo>
                    <a:pt x="0" y="0"/>
                  </a:moveTo>
                  <a:lnTo>
                    <a:pt x="6154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3" name="Freeform: Shape 1462">
              <a:extLst>
                <a:ext uri="{FF2B5EF4-FFF2-40B4-BE49-F238E27FC236}">
                  <a16:creationId xmlns:a16="http://schemas.microsoft.com/office/drawing/2014/main" id="{0E4236DE-E99A-4EA7-B799-BEC6A71F16AA}"/>
                </a:ext>
              </a:extLst>
            </p:cNvPr>
            <p:cNvSpPr/>
            <p:nvPr/>
          </p:nvSpPr>
          <p:spPr>
            <a:xfrm>
              <a:off x="9800890" y="5647772"/>
              <a:ext cx="61542" cy="45391"/>
            </a:xfrm>
            <a:custGeom>
              <a:avLst/>
              <a:gdLst>
                <a:gd name="connsiteX0" fmla="*/ 0 w 61542"/>
                <a:gd name="connsiteY0" fmla="*/ 0 h 45391"/>
                <a:gd name="connsiteX1" fmla="*/ 61543 w 6154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5391">
                  <a:moveTo>
                    <a:pt x="0" y="0"/>
                  </a:moveTo>
                  <a:lnTo>
                    <a:pt x="6154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4" name="Freeform: Shape 1463">
              <a:extLst>
                <a:ext uri="{FF2B5EF4-FFF2-40B4-BE49-F238E27FC236}">
                  <a16:creationId xmlns:a16="http://schemas.microsoft.com/office/drawing/2014/main" id="{D1473957-6384-4B7D-93DF-7D6A8D7C4C49}"/>
                </a:ext>
              </a:extLst>
            </p:cNvPr>
            <p:cNvSpPr/>
            <p:nvPr/>
          </p:nvSpPr>
          <p:spPr>
            <a:xfrm>
              <a:off x="1363965" y="5647772"/>
              <a:ext cx="61264" cy="45391"/>
            </a:xfrm>
            <a:custGeom>
              <a:avLst/>
              <a:gdLst>
                <a:gd name="connsiteX0" fmla="*/ 0 w 61264"/>
                <a:gd name="connsiteY0" fmla="*/ 0 h 45391"/>
                <a:gd name="connsiteX1" fmla="*/ 61264 w 61264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45391">
                  <a:moveTo>
                    <a:pt x="0" y="0"/>
                  </a:moveTo>
                  <a:lnTo>
                    <a:pt x="6126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5" name="Freeform: Shape 1464">
              <a:extLst>
                <a:ext uri="{FF2B5EF4-FFF2-40B4-BE49-F238E27FC236}">
                  <a16:creationId xmlns:a16="http://schemas.microsoft.com/office/drawing/2014/main" id="{731B3C2B-DF7C-472B-BDB0-10B0F58D8DA8}"/>
                </a:ext>
              </a:extLst>
            </p:cNvPr>
            <p:cNvSpPr/>
            <p:nvPr/>
          </p:nvSpPr>
          <p:spPr>
            <a:xfrm>
              <a:off x="7747702" y="1145961"/>
              <a:ext cx="61542" cy="45391"/>
            </a:xfrm>
            <a:custGeom>
              <a:avLst/>
              <a:gdLst>
                <a:gd name="connsiteX0" fmla="*/ 0 w 61542"/>
                <a:gd name="connsiteY0" fmla="*/ 0 h 45391"/>
                <a:gd name="connsiteX1" fmla="*/ 61543 w 6154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5391">
                  <a:moveTo>
                    <a:pt x="0" y="0"/>
                  </a:moveTo>
                  <a:lnTo>
                    <a:pt x="6154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6" name="Freeform: Shape 1465">
              <a:extLst>
                <a:ext uri="{FF2B5EF4-FFF2-40B4-BE49-F238E27FC236}">
                  <a16:creationId xmlns:a16="http://schemas.microsoft.com/office/drawing/2014/main" id="{8B453D3E-57ED-41F4-9CB2-9B1BDF89127E}"/>
                </a:ext>
              </a:extLst>
            </p:cNvPr>
            <p:cNvSpPr/>
            <p:nvPr/>
          </p:nvSpPr>
          <p:spPr>
            <a:xfrm>
              <a:off x="8207741" y="1145961"/>
              <a:ext cx="61264" cy="45391"/>
            </a:xfrm>
            <a:custGeom>
              <a:avLst/>
              <a:gdLst>
                <a:gd name="connsiteX0" fmla="*/ 0 w 61264"/>
                <a:gd name="connsiteY0" fmla="*/ 0 h 45391"/>
                <a:gd name="connsiteX1" fmla="*/ 61264 w 61264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45391">
                  <a:moveTo>
                    <a:pt x="0" y="0"/>
                  </a:moveTo>
                  <a:lnTo>
                    <a:pt x="6126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7" name="Freeform: Shape 1466">
              <a:extLst>
                <a:ext uri="{FF2B5EF4-FFF2-40B4-BE49-F238E27FC236}">
                  <a16:creationId xmlns:a16="http://schemas.microsoft.com/office/drawing/2014/main" id="{9EECB5A1-9CE5-4686-9DC1-4C04A58B6150}"/>
                </a:ext>
              </a:extLst>
            </p:cNvPr>
            <p:cNvSpPr/>
            <p:nvPr/>
          </p:nvSpPr>
          <p:spPr>
            <a:xfrm>
              <a:off x="1131161" y="2945182"/>
              <a:ext cx="64327" cy="42606"/>
            </a:xfrm>
            <a:custGeom>
              <a:avLst/>
              <a:gdLst>
                <a:gd name="connsiteX0" fmla="*/ 0 w 64327"/>
                <a:gd name="connsiteY0" fmla="*/ 0 h 42606"/>
                <a:gd name="connsiteX1" fmla="*/ 64327 w 64327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327" h="42606">
                  <a:moveTo>
                    <a:pt x="0" y="0"/>
                  </a:moveTo>
                  <a:lnTo>
                    <a:pt x="64327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8" name="Freeform: Shape 1467">
              <a:extLst>
                <a:ext uri="{FF2B5EF4-FFF2-40B4-BE49-F238E27FC236}">
                  <a16:creationId xmlns:a16="http://schemas.microsoft.com/office/drawing/2014/main" id="{A6055219-30CA-4266-8EB8-65D9D01FF111}"/>
                </a:ext>
              </a:extLst>
            </p:cNvPr>
            <p:cNvSpPr/>
            <p:nvPr/>
          </p:nvSpPr>
          <p:spPr>
            <a:xfrm>
              <a:off x="2048175" y="3846045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9" name="Freeform: Shape 1468">
              <a:extLst>
                <a:ext uri="{FF2B5EF4-FFF2-40B4-BE49-F238E27FC236}">
                  <a16:creationId xmlns:a16="http://schemas.microsoft.com/office/drawing/2014/main" id="{47D5883B-FA78-4543-9752-2F635A1D75B7}"/>
                </a:ext>
              </a:extLst>
            </p:cNvPr>
            <p:cNvSpPr/>
            <p:nvPr/>
          </p:nvSpPr>
          <p:spPr>
            <a:xfrm>
              <a:off x="1591200" y="4516889"/>
              <a:ext cx="55973" cy="45669"/>
            </a:xfrm>
            <a:custGeom>
              <a:avLst/>
              <a:gdLst>
                <a:gd name="connsiteX0" fmla="*/ 0 w 55973"/>
                <a:gd name="connsiteY0" fmla="*/ 0 h 45669"/>
                <a:gd name="connsiteX1" fmla="*/ 55973 w 55973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669">
                  <a:moveTo>
                    <a:pt x="0" y="0"/>
                  </a:moveTo>
                  <a:lnTo>
                    <a:pt x="55973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0" name="Freeform: Shape 1469">
              <a:extLst>
                <a:ext uri="{FF2B5EF4-FFF2-40B4-BE49-F238E27FC236}">
                  <a16:creationId xmlns:a16="http://schemas.microsoft.com/office/drawing/2014/main" id="{E8732AC2-0A41-4E5D-989F-C2FA558E335A}"/>
                </a:ext>
              </a:extLst>
            </p:cNvPr>
            <p:cNvSpPr/>
            <p:nvPr/>
          </p:nvSpPr>
          <p:spPr>
            <a:xfrm>
              <a:off x="1363965" y="5423322"/>
              <a:ext cx="61264" cy="40100"/>
            </a:xfrm>
            <a:custGeom>
              <a:avLst/>
              <a:gdLst>
                <a:gd name="connsiteX0" fmla="*/ 0 w 61264"/>
                <a:gd name="connsiteY0" fmla="*/ 0 h 40100"/>
                <a:gd name="connsiteX1" fmla="*/ 61264 w 6126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40100">
                  <a:moveTo>
                    <a:pt x="0" y="0"/>
                  </a:moveTo>
                  <a:lnTo>
                    <a:pt x="6126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1" name="Freeform: Shape 1470">
              <a:extLst>
                <a:ext uri="{FF2B5EF4-FFF2-40B4-BE49-F238E27FC236}">
                  <a16:creationId xmlns:a16="http://schemas.microsoft.com/office/drawing/2014/main" id="{3D4F1CF9-4FF1-41F5-9EFC-53A9314874A6}"/>
                </a:ext>
              </a:extLst>
            </p:cNvPr>
            <p:cNvSpPr/>
            <p:nvPr/>
          </p:nvSpPr>
          <p:spPr>
            <a:xfrm>
              <a:off x="6154552" y="472333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2" name="Freeform: Shape 1471">
              <a:extLst>
                <a:ext uri="{FF2B5EF4-FFF2-40B4-BE49-F238E27FC236}">
                  <a16:creationId xmlns:a16="http://schemas.microsoft.com/office/drawing/2014/main" id="{0DBBE023-4418-4C69-BC23-F5BC0280C04B}"/>
                </a:ext>
              </a:extLst>
            </p:cNvPr>
            <p:cNvSpPr/>
            <p:nvPr/>
          </p:nvSpPr>
          <p:spPr>
            <a:xfrm>
              <a:off x="446950" y="2496003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3" name="Freeform: Shape 1472">
              <a:extLst>
                <a:ext uri="{FF2B5EF4-FFF2-40B4-BE49-F238E27FC236}">
                  <a16:creationId xmlns:a16="http://schemas.microsoft.com/office/drawing/2014/main" id="{E5C34DDB-0849-44CD-9F78-37E83413FA33}"/>
                </a:ext>
              </a:extLst>
            </p:cNvPr>
            <p:cNvSpPr/>
            <p:nvPr/>
          </p:nvSpPr>
          <p:spPr>
            <a:xfrm>
              <a:off x="7977721" y="1145961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2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2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4" name="Freeform: Shape 1473">
              <a:extLst>
                <a:ext uri="{FF2B5EF4-FFF2-40B4-BE49-F238E27FC236}">
                  <a16:creationId xmlns:a16="http://schemas.microsoft.com/office/drawing/2014/main" id="{8F92CED4-F1BA-4AAB-B1D1-E5AFFADC36BF}"/>
                </a:ext>
              </a:extLst>
            </p:cNvPr>
            <p:cNvSpPr/>
            <p:nvPr/>
          </p:nvSpPr>
          <p:spPr>
            <a:xfrm>
              <a:off x="10030910" y="5423322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5" name="Freeform: Shape 1474">
              <a:extLst>
                <a:ext uri="{FF2B5EF4-FFF2-40B4-BE49-F238E27FC236}">
                  <a16:creationId xmlns:a16="http://schemas.microsoft.com/office/drawing/2014/main" id="{5FFC9859-F369-4EE2-8E4F-2CE563A33F89}"/>
                </a:ext>
              </a:extLst>
            </p:cNvPr>
            <p:cNvSpPr/>
            <p:nvPr/>
          </p:nvSpPr>
          <p:spPr>
            <a:xfrm>
              <a:off x="10260651" y="2274059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6" name="Freeform: Shape 1475">
              <a:extLst>
                <a:ext uri="{FF2B5EF4-FFF2-40B4-BE49-F238E27FC236}">
                  <a16:creationId xmlns:a16="http://schemas.microsoft.com/office/drawing/2014/main" id="{36D9B745-0116-4409-B777-F774B553196F}"/>
                </a:ext>
              </a:extLst>
            </p:cNvPr>
            <p:cNvSpPr/>
            <p:nvPr/>
          </p:nvSpPr>
          <p:spPr>
            <a:xfrm>
              <a:off x="6609022" y="696783"/>
              <a:ext cx="55973" cy="45391"/>
            </a:xfrm>
            <a:custGeom>
              <a:avLst/>
              <a:gdLst>
                <a:gd name="connsiteX0" fmla="*/ 0 w 55973"/>
                <a:gd name="connsiteY0" fmla="*/ 0 h 45391"/>
                <a:gd name="connsiteX1" fmla="*/ 55973 w 5597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391">
                  <a:moveTo>
                    <a:pt x="0" y="0"/>
                  </a:moveTo>
                  <a:lnTo>
                    <a:pt x="5597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7" name="Freeform: Shape 1476">
              <a:extLst>
                <a:ext uri="{FF2B5EF4-FFF2-40B4-BE49-F238E27FC236}">
                  <a16:creationId xmlns:a16="http://schemas.microsoft.com/office/drawing/2014/main" id="{7115ABE6-D542-4819-82E1-DBB3BBB3E5AC}"/>
                </a:ext>
              </a:extLst>
            </p:cNvPr>
            <p:cNvSpPr/>
            <p:nvPr/>
          </p:nvSpPr>
          <p:spPr>
            <a:xfrm>
              <a:off x="7523252" y="1145961"/>
              <a:ext cx="58758" cy="42606"/>
            </a:xfrm>
            <a:custGeom>
              <a:avLst/>
              <a:gdLst>
                <a:gd name="connsiteX0" fmla="*/ 0 w 58758"/>
                <a:gd name="connsiteY0" fmla="*/ 0 h 42606"/>
                <a:gd name="connsiteX1" fmla="*/ 58758 w 58758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42606">
                  <a:moveTo>
                    <a:pt x="0" y="0"/>
                  </a:moveTo>
                  <a:lnTo>
                    <a:pt x="58758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8" name="Freeform: Shape 1477">
              <a:extLst>
                <a:ext uri="{FF2B5EF4-FFF2-40B4-BE49-F238E27FC236}">
                  <a16:creationId xmlns:a16="http://schemas.microsoft.com/office/drawing/2014/main" id="{7000BFEF-40B1-40E4-A2CD-3D0F0FFDAC45}"/>
                </a:ext>
              </a:extLst>
            </p:cNvPr>
            <p:cNvSpPr/>
            <p:nvPr/>
          </p:nvSpPr>
          <p:spPr>
            <a:xfrm>
              <a:off x="8662210" y="1145961"/>
              <a:ext cx="55973" cy="45391"/>
            </a:xfrm>
            <a:custGeom>
              <a:avLst/>
              <a:gdLst>
                <a:gd name="connsiteX0" fmla="*/ 0 w 55973"/>
                <a:gd name="connsiteY0" fmla="*/ 0 h 45391"/>
                <a:gd name="connsiteX1" fmla="*/ 55973 w 5597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391">
                  <a:moveTo>
                    <a:pt x="0" y="0"/>
                  </a:moveTo>
                  <a:lnTo>
                    <a:pt x="5597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9" name="Freeform: Shape 1478">
              <a:extLst>
                <a:ext uri="{FF2B5EF4-FFF2-40B4-BE49-F238E27FC236}">
                  <a16:creationId xmlns:a16="http://schemas.microsoft.com/office/drawing/2014/main" id="{C6357180-D5A0-4BC5-91D1-E0AEF5B67E1E}"/>
                </a:ext>
              </a:extLst>
            </p:cNvPr>
            <p:cNvSpPr/>
            <p:nvPr/>
          </p:nvSpPr>
          <p:spPr>
            <a:xfrm>
              <a:off x="10252854" y="5196087"/>
              <a:ext cx="58758" cy="42606"/>
            </a:xfrm>
            <a:custGeom>
              <a:avLst/>
              <a:gdLst>
                <a:gd name="connsiteX0" fmla="*/ 0 w 58758"/>
                <a:gd name="connsiteY0" fmla="*/ 0 h 42606"/>
                <a:gd name="connsiteX1" fmla="*/ 58758 w 58758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42606">
                  <a:moveTo>
                    <a:pt x="0" y="0"/>
                  </a:moveTo>
                  <a:lnTo>
                    <a:pt x="58758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0" name="Freeform: Shape 1479">
              <a:extLst>
                <a:ext uri="{FF2B5EF4-FFF2-40B4-BE49-F238E27FC236}">
                  <a16:creationId xmlns:a16="http://schemas.microsoft.com/office/drawing/2014/main" id="{34AA11AE-02A4-4D50-BFAC-F609D208666E}"/>
                </a:ext>
              </a:extLst>
            </p:cNvPr>
            <p:cNvSpPr/>
            <p:nvPr/>
          </p:nvSpPr>
          <p:spPr>
            <a:xfrm>
              <a:off x="1818434" y="4070495"/>
              <a:ext cx="58758" cy="42884"/>
            </a:xfrm>
            <a:custGeom>
              <a:avLst/>
              <a:gdLst>
                <a:gd name="connsiteX0" fmla="*/ 0 w 58758"/>
                <a:gd name="connsiteY0" fmla="*/ 0 h 42884"/>
                <a:gd name="connsiteX1" fmla="*/ 58758 w 58758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42884">
                  <a:moveTo>
                    <a:pt x="0" y="0"/>
                  </a:moveTo>
                  <a:lnTo>
                    <a:pt x="58758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1" name="Freeform: Shape 1480">
              <a:extLst>
                <a:ext uri="{FF2B5EF4-FFF2-40B4-BE49-F238E27FC236}">
                  <a16:creationId xmlns:a16="http://schemas.microsoft.com/office/drawing/2014/main" id="{54E8C3B2-5E64-4030-8E78-820EFA4E6D87}"/>
                </a:ext>
              </a:extLst>
            </p:cNvPr>
            <p:cNvSpPr/>
            <p:nvPr/>
          </p:nvSpPr>
          <p:spPr>
            <a:xfrm>
              <a:off x="1363965" y="5198593"/>
              <a:ext cx="55973" cy="45669"/>
            </a:xfrm>
            <a:custGeom>
              <a:avLst/>
              <a:gdLst>
                <a:gd name="connsiteX0" fmla="*/ 0 w 55973"/>
                <a:gd name="connsiteY0" fmla="*/ 0 h 45669"/>
                <a:gd name="connsiteX1" fmla="*/ 55973 w 55973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669">
                  <a:moveTo>
                    <a:pt x="0" y="0"/>
                  </a:moveTo>
                  <a:lnTo>
                    <a:pt x="55973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2" name="Freeform: Shape 1481">
              <a:extLst>
                <a:ext uri="{FF2B5EF4-FFF2-40B4-BE49-F238E27FC236}">
                  <a16:creationId xmlns:a16="http://schemas.microsoft.com/office/drawing/2014/main" id="{20CC7F1E-EBC4-41C9-963F-CC232E71DC4C}"/>
                </a:ext>
              </a:extLst>
            </p:cNvPr>
            <p:cNvSpPr/>
            <p:nvPr/>
          </p:nvSpPr>
          <p:spPr>
            <a:xfrm>
              <a:off x="1818434" y="3396866"/>
              <a:ext cx="55973" cy="45391"/>
            </a:xfrm>
            <a:custGeom>
              <a:avLst/>
              <a:gdLst>
                <a:gd name="connsiteX0" fmla="*/ 0 w 55973"/>
                <a:gd name="connsiteY0" fmla="*/ 0 h 45391"/>
                <a:gd name="connsiteX1" fmla="*/ 55973 w 5597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391">
                  <a:moveTo>
                    <a:pt x="0" y="0"/>
                  </a:moveTo>
                  <a:lnTo>
                    <a:pt x="5597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3" name="Freeform: Shape 1482">
              <a:extLst>
                <a:ext uri="{FF2B5EF4-FFF2-40B4-BE49-F238E27FC236}">
                  <a16:creationId xmlns:a16="http://schemas.microsoft.com/office/drawing/2014/main" id="{F792E1D9-CF5A-40CB-A136-645C53EA4588}"/>
                </a:ext>
              </a:extLst>
            </p:cNvPr>
            <p:cNvSpPr/>
            <p:nvPr/>
          </p:nvSpPr>
          <p:spPr>
            <a:xfrm>
              <a:off x="1593706" y="4749693"/>
              <a:ext cx="58758" cy="37315"/>
            </a:xfrm>
            <a:custGeom>
              <a:avLst/>
              <a:gdLst>
                <a:gd name="connsiteX0" fmla="*/ 0 w 58758"/>
                <a:gd name="connsiteY0" fmla="*/ 0 h 37315"/>
                <a:gd name="connsiteX1" fmla="*/ 58758 w 58758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37315">
                  <a:moveTo>
                    <a:pt x="0" y="0"/>
                  </a:moveTo>
                  <a:lnTo>
                    <a:pt x="58758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4" name="Freeform: Shape 1483">
              <a:extLst>
                <a:ext uri="{FF2B5EF4-FFF2-40B4-BE49-F238E27FC236}">
                  <a16:creationId xmlns:a16="http://schemas.microsoft.com/office/drawing/2014/main" id="{F9EA8753-0300-4DAF-BAD4-2D7C7EE07103}"/>
                </a:ext>
              </a:extLst>
            </p:cNvPr>
            <p:cNvSpPr/>
            <p:nvPr/>
          </p:nvSpPr>
          <p:spPr>
            <a:xfrm>
              <a:off x="10028125" y="1816805"/>
              <a:ext cx="53467" cy="48175"/>
            </a:xfrm>
            <a:custGeom>
              <a:avLst/>
              <a:gdLst>
                <a:gd name="connsiteX0" fmla="*/ 0 w 53467"/>
                <a:gd name="connsiteY0" fmla="*/ 0 h 48175"/>
                <a:gd name="connsiteX1" fmla="*/ 53467 w 53467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48175">
                  <a:moveTo>
                    <a:pt x="0" y="0"/>
                  </a:moveTo>
                  <a:lnTo>
                    <a:pt x="53467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5" name="Freeform: Shape 1484">
              <a:extLst>
                <a:ext uri="{FF2B5EF4-FFF2-40B4-BE49-F238E27FC236}">
                  <a16:creationId xmlns:a16="http://schemas.microsoft.com/office/drawing/2014/main" id="{9175E7EC-4703-4D78-9556-27B0A2EC0C0E}"/>
                </a:ext>
              </a:extLst>
            </p:cNvPr>
            <p:cNvSpPr/>
            <p:nvPr/>
          </p:nvSpPr>
          <p:spPr>
            <a:xfrm>
              <a:off x="2048175" y="3621316"/>
              <a:ext cx="56251" cy="45669"/>
            </a:xfrm>
            <a:custGeom>
              <a:avLst/>
              <a:gdLst>
                <a:gd name="connsiteX0" fmla="*/ 0 w 56251"/>
                <a:gd name="connsiteY0" fmla="*/ 0 h 45669"/>
                <a:gd name="connsiteX1" fmla="*/ 56252 w 56251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251" h="45669">
                  <a:moveTo>
                    <a:pt x="0" y="0"/>
                  </a:moveTo>
                  <a:lnTo>
                    <a:pt x="56252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6" name="Freeform: Shape 1485">
              <a:extLst>
                <a:ext uri="{FF2B5EF4-FFF2-40B4-BE49-F238E27FC236}">
                  <a16:creationId xmlns:a16="http://schemas.microsoft.com/office/drawing/2014/main" id="{E1268299-6BD6-4298-80C9-84BA0B157F2B}"/>
                </a:ext>
              </a:extLst>
            </p:cNvPr>
            <p:cNvSpPr/>
            <p:nvPr/>
          </p:nvSpPr>
          <p:spPr>
            <a:xfrm>
              <a:off x="7060707" y="918726"/>
              <a:ext cx="56251" cy="45391"/>
            </a:xfrm>
            <a:custGeom>
              <a:avLst/>
              <a:gdLst>
                <a:gd name="connsiteX0" fmla="*/ 0 w 56251"/>
                <a:gd name="connsiteY0" fmla="*/ 0 h 45391"/>
                <a:gd name="connsiteX1" fmla="*/ 56252 w 5625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251" h="45391">
                  <a:moveTo>
                    <a:pt x="0" y="0"/>
                  </a:moveTo>
                  <a:lnTo>
                    <a:pt x="5625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8" name="Freeform: Shape 1487">
              <a:extLst>
                <a:ext uri="{FF2B5EF4-FFF2-40B4-BE49-F238E27FC236}">
                  <a16:creationId xmlns:a16="http://schemas.microsoft.com/office/drawing/2014/main" id="{1E1EFC98-3DA1-4417-AA4E-E5857D578D01}"/>
                </a:ext>
              </a:extLst>
            </p:cNvPr>
            <p:cNvSpPr/>
            <p:nvPr/>
          </p:nvSpPr>
          <p:spPr>
            <a:xfrm>
              <a:off x="1591200" y="4292439"/>
              <a:ext cx="50682" cy="45391"/>
            </a:xfrm>
            <a:custGeom>
              <a:avLst/>
              <a:gdLst>
                <a:gd name="connsiteX0" fmla="*/ 0 w 50682"/>
                <a:gd name="connsiteY0" fmla="*/ 0 h 45391"/>
                <a:gd name="connsiteX1" fmla="*/ 50682 w 5068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5391">
                  <a:moveTo>
                    <a:pt x="0" y="0"/>
                  </a:moveTo>
                  <a:lnTo>
                    <a:pt x="5068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9" name="Freeform: Shape 1488">
              <a:extLst>
                <a:ext uri="{FF2B5EF4-FFF2-40B4-BE49-F238E27FC236}">
                  <a16:creationId xmlns:a16="http://schemas.microsoft.com/office/drawing/2014/main" id="{3C7CA641-17D8-4639-BE9D-EE815BEFC395}"/>
                </a:ext>
              </a:extLst>
            </p:cNvPr>
            <p:cNvSpPr/>
            <p:nvPr/>
          </p:nvSpPr>
          <p:spPr>
            <a:xfrm>
              <a:off x="679476" y="2723238"/>
              <a:ext cx="50682" cy="45391"/>
            </a:xfrm>
            <a:custGeom>
              <a:avLst/>
              <a:gdLst>
                <a:gd name="connsiteX0" fmla="*/ 0 w 50682"/>
                <a:gd name="connsiteY0" fmla="*/ 0 h 45391"/>
                <a:gd name="connsiteX1" fmla="*/ 50682 w 5068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5391">
                  <a:moveTo>
                    <a:pt x="0" y="0"/>
                  </a:moveTo>
                  <a:lnTo>
                    <a:pt x="5068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0" name="Freeform: Shape 1489">
              <a:extLst>
                <a:ext uri="{FF2B5EF4-FFF2-40B4-BE49-F238E27FC236}">
                  <a16:creationId xmlns:a16="http://schemas.microsoft.com/office/drawing/2014/main" id="{C93A4890-1482-41D4-B39F-5D450EBED3F5}"/>
                </a:ext>
              </a:extLst>
            </p:cNvPr>
            <p:cNvSpPr/>
            <p:nvPr/>
          </p:nvSpPr>
          <p:spPr>
            <a:xfrm>
              <a:off x="8889445" y="1143177"/>
              <a:ext cx="50682" cy="45391"/>
            </a:xfrm>
            <a:custGeom>
              <a:avLst/>
              <a:gdLst>
                <a:gd name="connsiteX0" fmla="*/ 0 w 50682"/>
                <a:gd name="connsiteY0" fmla="*/ 0 h 45391"/>
                <a:gd name="connsiteX1" fmla="*/ 50682 w 5068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5391">
                  <a:moveTo>
                    <a:pt x="0" y="0"/>
                  </a:moveTo>
                  <a:lnTo>
                    <a:pt x="5068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1" name="Freeform: Shape 1490">
              <a:extLst>
                <a:ext uri="{FF2B5EF4-FFF2-40B4-BE49-F238E27FC236}">
                  <a16:creationId xmlns:a16="http://schemas.microsoft.com/office/drawing/2014/main" id="{DEC3D557-1B32-4932-B075-A2F0FFC495FC}"/>
                </a:ext>
              </a:extLst>
            </p:cNvPr>
            <p:cNvSpPr/>
            <p:nvPr/>
          </p:nvSpPr>
          <p:spPr>
            <a:xfrm>
              <a:off x="1591200" y="4067989"/>
              <a:ext cx="47897" cy="47897"/>
            </a:xfrm>
            <a:custGeom>
              <a:avLst/>
              <a:gdLst>
                <a:gd name="connsiteX0" fmla="*/ 0 w 47897"/>
                <a:gd name="connsiteY0" fmla="*/ 0 h 47897"/>
                <a:gd name="connsiteX1" fmla="*/ 47897 w 47897"/>
                <a:gd name="connsiteY1" fmla="*/ 47898 h 47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97" h="47897">
                  <a:moveTo>
                    <a:pt x="0" y="0"/>
                  </a:moveTo>
                  <a:lnTo>
                    <a:pt x="47897" y="478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2" name="Freeform: Shape 1491">
              <a:extLst>
                <a:ext uri="{FF2B5EF4-FFF2-40B4-BE49-F238E27FC236}">
                  <a16:creationId xmlns:a16="http://schemas.microsoft.com/office/drawing/2014/main" id="{BD800EC0-C693-4F8E-9818-7493423C289F}"/>
                </a:ext>
              </a:extLst>
            </p:cNvPr>
            <p:cNvSpPr/>
            <p:nvPr/>
          </p:nvSpPr>
          <p:spPr>
            <a:xfrm>
              <a:off x="9346421" y="1370411"/>
              <a:ext cx="53466" cy="42884"/>
            </a:xfrm>
            <a:custGeom>
              <a:avLst/>
              <a:gdLst>
                <a:gd name="connsiteX0" fmla="*/ 0 w 53466"/>
                <a:gd name="connsiteY0" fmla="*/ 0 h 42884"/>
                <a:gd name="connsiteX1" fmla="*/ 53467 w 5346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6" h="42884">
                  <a:moveTo>
                    <a:pt x="0" y="0"/>
                  </a:moveTo>
                  <a:lnTo>
                    <a:pt x="53467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3" name="Freeform: Shape 1492">
              <a:extLst>
                <a:ext uri="{FF2B5EF4-FFF2-40B4-BE49-F238E27FC236}">
                  <a16:creationId xmlns:a16="http://schemas.microsoft.com/office/drawing/2014/main" id="{D74AB1B1-F138-41E5-B107-893150EBFE1A}"/>
                </a:ext>
              </a:extLst>
            </p:cNvPr>
            <p:cNvSpPr/>
            <p:nvPr/>
          </p:nvSpPr>
          <p:spPr>
            <a:xfrm>
              <a:off x="1131161" y="5196087"/>
              <a:ext cx="42884" cy="48175"/>
            </a:xfrm>
            <a:custGeom>
              <a:avLst/>
              <a:gdLst>
                <a:gd name="connsiteX0" fmla="*/ 0 w 42884"/>
                <a:gd name="connsiteY0" fmla="*/ 0 h 48175"/>
                <a:gd name="connsiteX1" fmla="*/ 42885 w 42884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8175">
                  <a:moveTo>
                    <a:pt x="0" y="0"/>
                  </a:moveTo>
                  <a:lnTo>
                    <a:pt x="42885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4" name="Freeform: Shape 1493">
              <a:extLst>
                <a:ext uri="{FF2B5EF4-FFF2-40B4-BE49-F238E27FC236}">
                  <a16:creationId xmlns:a16="http://schemas.microsoft.com/office/drawing/2014/main" id="{F5237128-DD39-4021-A690-BCFD476F8272}"/>
                </a:ext>
              </a:extLst>
            </p:cNvPr>
            <p:cNvSpPr/>
            <p:nvPr/>
          </p:nvSpPr>
          <p:spPr>
            <a:xfrm>
              <a:off x="1363965" y="4974143"/>
              <a:ext cx="50682" cy="40100"/>
            </a:xfrm>
            <a:custGeom>
              <a:avLst/>
              <a:gdLst>
                <a:gd name="connsiteX0" fmla="*/ 0 w 50682"/>
                <a:gd name="connsiteY0" fmla="*/ 0 h 40100"/>
                <a:gd name="connsiteX1" fmla="*/ 50682 w 5068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0100">
                  <a:moveTo>
                    <a:pt x="0" y="0"/>
                  </a:moveTo>
                  <a:lnTo>
                    <a:pt x="50682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5" name="Freeform: Shape 1494">
              <a:extLst>
                <a:ext uri="{FF2B5EF4-FFF2-40B4-BE49-F238E27FC236}">
                  <a16:creationId xmlns:a16="http://schemas.microsoft.com/office/drawing/2014/main" id="{BE55F0E2-1217-4149-85B9-1206C3A0F9C5}"/>
                </a:ext>
              </a:extLst>
            </p:cNvPr>
            <p:cNvSpPr/>
            <p:nvPr/>
          </p:nvSpPr>
          <p:spPr>
            <a:xfrm>
              <a:off x="10252854" y="2046825"/>
              <a:ext cx="50682" cy="40100"/>
            </a:xfrm>
            <a:custGeom>
              <a:avLst/>
              <a:gdLst>
                <a:gd name="connsiteX0" fmla="*/ 0 w 50682"/>
                <a:gd name="connsiteY0" fmla="*/ 0 h 40100"/>
                <a:gd name="connsiteX1" fmla="*/ 50682 w 5068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0100">
                  <a:moveTo>
                    <a:pt x="0" y="0"/>
                  </a:moveTo>
                  <a:lnTo>
                    <a:pt x="50682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6" name="Freeform: Shape 1495">
              <a:extLst>
                <a:ext uri="{FF2B5EF4-FFF2-40B4-BE49-F238E27FC236}">
                  <a16:creationId xmlns:a16="http://schemas.microsoft.com/office/drawing/2014/main" id="{625D85ED-D0EA-47BC-9CDA-071262CE061D}"/>
                </a:ext>
              </a:extLst>
            </p:cNvPr>
            <p:cNvSpPr/>
            <p:nvPr/>
          </p:nvSpPr>
          <p:spPr>
            <a:xfrm>
              <a:off x="1363965" y="4749693"/>
              <a:ext cx="50682" cy="40100"/>
            </a:xfrm>
            <a:custGeom>
              <a:avLst/>
              <a:gdLst>
                <a:gd name="connsiteX0" fmla="*/ 0 w 50682"/>
                <a:gd name="connsiteY0" fmla="*/ 0 h 40100"/>
                <a:gd name="connsiteX1" fmla="*/ 50682 w 5068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0100">
                  <a:moveTo>
                    <a:pt x="0" y="0"/>
                  </a:moveTo>
                  <a:lnTo>
                    <a:pt x="50682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7" name="Freeform: Shape 1496">
              <a:extLst>
                <a:ext uri="{FF2B5EF4-FFF2-40B4-BE49-F238E27FC236}">
                  <a16:creationId xmlns:a16="http://schemas.microsoft.com/office/drawing/2014/main" id="{C2007131-381A-48E0-9497-7AF9239A1DED}"/>
                </a:ext>
              </a:extLst>
            </p:cNvPr>
            <p:cNvSpPr/>
            <p:nvPr/>
          </p:nvSpPr>
          <p:spPr>
            <a:xfrm>
              <a:off x="6376496" y="469548"/>
              <a:ext cx="50682" cy="45391"/>
            </a:xfrm>
            <a:custGeom>
              <a:avLst/>
              <a:gdLst>
                <a:gd name="connsiteX0" fmla="*/ 0 w 50682"/>
                <a:gd name="connsiteY0" fmla="*/ 0 h 45391"/>
                <a:gd name="connsiteX1" fmla="*/ 50682 w 5068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5391">
                  <a:moveTo>
                    <a:pt x="0" y="0"/>
                  </a:moveTo>
                  <a:lnTo>
                    <a:pt x="5068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8" name="Freeform: Shape 1497">
              <a:extLst>
                <a:ext uri="{FF2B5EF4-FFF2-40B4-BE49-F238E27FC236}">
                  <a16:creationId xmlns:a16="http://schemas.microsoft.com/office/drawing/2014/main" id="{F4AF19EF-18B3-4728-B97A-37F4C0F8A142}"/>
                </a:ext>
              </a:extLst>
            </p:cNvPr>
            <p:cNvSpPr/>
            <p:nvPr/>
          </p:nvSpPr>
          <p:spPr>
            <a:xfrm>
              <a:off x="9343915" y="1143177"/>
              <a:ext cx="37315" cy="48175"/>
            </a:xfrm>
            <a:custGeom>
              <a:avLst/>
              <a:gdLst>
                <a:gd name="connsiteX0" fmla="*/ 0 w 37315"/>
                <a:gd name="connsiteY0" fmla="*/ 0 h 48175"/>
                <a:gd name="connsiteX1" fmla="*/ 37316 w 37315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15" h="48175">
                  <a:moveTo>
                    <a:pt x="0" y="0"/>
                  </a:moveTo>
                  <a:lnTo>
                    <a:pt x="37316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9" name="Freeform: Shape 1498">
              <a:extLst>
                <a:ext uri="{FF2B5EF4-FFF2-40B4-BE49-F238E27FC236}">
                  <a16:creationId xmlns:a16="http://schemas.microsoft.com/office/drawing/2014/main" id="{CB3F7F72-B155-4BB8-8783-8E79F4C36463}"/>
                </a:ext>
              </a:extLst>
            </p:cNvPr>
            <p:cNvSpPr/>
            <p:nvPr/>
          </p:nvSpPr>
          <p:spPr>
            <a:xfrm>
              <a:off x="1131161" y="4971358"/>
              <a:ext cx="42884" cy="42884"/>
            </a:xfrm>
            <a:custGeom>
              <a:avLst/>
              <a:gdLst>
                <a:gd name="connsiteX0" fmla="*/ 0 w 42884"/>
                <a:gd name="connsiteY0" fmla="*/ 0 h 42884"/>
                <a:gd name="connsiteX1" fmla="*/ 42885 w 42884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2884">
                  <a:moveTo>
                    <a:pt x="0" y="0"/>
                  </a:moveTo>
                  <a:lnTo>
                    <a:pt x="42885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0" name="Freeform: Shape 1499">
              <a:extLst>
                <a:ext uri="{FF2B5EF4-FFF2-40B4-BE49-F238E27FC236}">
                  <a16:creationId xmlns:a16="http://schemas.microsoft.com/office/drawing/2014/main" id="{1430D7CA-63DF-46C0-877F-207553C999E6}"/>
                </a:ext>
              </a:extLst>
            </p:cNvPr>
            <p:cNvSpPr/>
            <p:nvPr/>
          </p:nvSpPr>
          <p:spPr>
            <a:xfrm>
              <a:off x="446950" y="2720453"/>
              <a:ext cx="42606" cy="42884"/>
            </a:xfrm>
            <a:custGeom>
              <a:avLst/>
              <a:gdLst>
                <a:gd name="connsiteX0" fmla="*/ 0 w 42606"/>
                <a:gd name="connsiteY0" fmla="*/ 0 h 42884"/>
                <a:gd name="connsiteX1" fmla="*/ 42607 w 4260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42884">
                  <a:moveTo>
                    <a:pt x="0" y="0"/>
                  </a:moveTo>
                  <a:lnTo>
                    <a:pt x="42607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1" name="Freeform: Shape 1500">
              <a:extLst>
                <a:ext uri="{FF2B5EF4-FFF2-40B4-BE49-F238E27FC236}">
                  <a16:creationId xmlns:a16="http://schemas.microsoft.com/office/drawing/2014/main" id="{B426D038-3104-4221-947D-456AEF2C777A}"/>
                </a:ext>
              </a:extLst>
            </p:cNvPr>
            <p:cNvSpPr/>
            <p:nvPr/>
          </p:nvSpPr>
          <p:spPr>
            <a:xfrm>
              <a:off x="1818434" y="3846045"/>
              <a:ext cx="47897" cy="42606"/>
            </a:xfrm>
            <a:custGeom>
              <a:avLst/>
              <a:gdLst>
                <a:gd name="connsiteX0" fmla="*/ 0 w 47897"/>
                <a:gd name="connsiteY0" fmla="*/ 0 h 42606"/>
                <a:gd name="connsiteX1" fmla="*/ 47898 w 47897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97" h="42606">
                  <a:moveTo>
                    <a:pt x="0" y="0"/>
                  </a:moveTo>
                  <a:lnTo>
                    <a:pt x="47898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2" name="Freeform: Shape 1501">
              <a:extLst>
                <a:ext uri="{FF2B5EF4-FFF2-40B4-BE49-F238E27FC236}">
                  <a16:creationId xmlns:a16="http://schemas.microsoft.com/office/drawing/2014/main" id="{4F570967-0C8A-44BD-B708-263804BE4948}"/>
                </a:ext>
              </a:extLst>
            </p:cNvPr>
            <p:cNvSpPr/>
            <p:nvPr/>
          </p:nvSpPr>
          <p:spPr>
            <a:xfrm>
              <a:off x="909495" y="2947688"/>
              <a:ext cx="40100" cy="45391"/>
            </a:xfrm>
            <a:custGeom>
              <a:avLst/>
              <a:gdLst>
                <a:gd name="connsiteX0" fmla="*/ 0 w 40100"/>
                <a:gd name="connsiteY0" fmla="*/ 0 h 45391"/>
                <a:gd name="connsiteX1" fmla="*/ 40100 w 4010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391">
                  <a:moveTo>
                    <a:pt x="0" y="0"/>
                  </a:moveTo>
                  <a:lnTo>
                    <a:pt x="4010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3" name="Freeform: Shape 1502">
              <a:extLst>
                <a:ext uri="{FF2B5EF4-FFF2-40B4-BE49-F238E27FC236}">
                  <a16:creationId xmlns:a16="http://schemas.microsoft.com/office/drawing/2014/main" id="{34F6117B-D411-4080-85F0-DDB9ADA9C005}"/>
                </a:ext>
              </a:extLst>
            </p:cNvPr>
            <p:cNvSpPr/>
            <p:nvPr/>
          </p:nvSpPr>
          <p:spPr>
            <a:xfrm>
              <a:off x="1363965" y="3172416"/>
              <a:ext cx="47897" cy="42606"/>
            </a:xfrm>
            <a:custGeom>
              <a:avLst/>
              <a:gdLst>
                <a:gd name="connsiteX0" fmla="*/ 0 w 47897"/>
                <a:gd name="connsiteY0" fmla="*/ 0 h 42606"/>
                <a:gd name="connsiteX1" fmla="*/ 47898 w 47897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97" h="42606">
                  <a:moveTo>
                    <a:pt x="0" y="0"/>
                  </a:moveTo>
                  <a:lnTo>
                    <a:pt x="47898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4" name="Freeform: Shape 1503">
              <a:extLst>
                <a:ext uri="{FF2B5EF4-FFF2-40B4-BE49-F238E27FC236}">
                  <a16:creationId xmlns:a16="http://schemas.microsoft.com/office/drawing/2014/main" id="{66E9A274-5189-488B-B1C7-A44D4BE3F959}"/>
                </a:ext>
              </a:extLst>
            </p:cNvPr>
            <p:cNvSpPr/>
            <p:nvPr/>
          </p:nvSpPr>
          <p:spPr>
            <a:xfrm>
              <a:off x="10258145" y="5420537"/>
              <a:ext cx="42606" cy="48175"/>
            </a:xfrm>
            <a:custGeom>
              <a:avLst/>
              <a:gdLst>
                <a:gd name="connsiteX0" fmla="*/ 0 w 42606"/>
                <a:gd name="connsiteY0" fmla="*/ 0 h 48175"/>
                <a:gd name="connsiteX1" fmla="*/ 42607 w 4260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48175">
                  <a:moveTo>
                    <a:pt x="0" y="0"/>
                  </a:moveTo>
                  <a:lnTo>
                    <a:pt x="42607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5" name="Freeform: Shape 1504">
              <a:extLst>
                <a:ext uri="{FF2B5EF4-FFF2-40B4-BE49-F238E27FC236}">
                  <a16:creationId xmlns:a16="http://schemas.microsoft.com/office/drawing/2014/main" id="{C5F24CAB-D80B-4041-84F1-A70382649ED2}"/>
                </a:ext>
              </a:extLst>
            </p:cNvPr>
            <p:cNvSpPr/>
            <p:nvPr/>
          </p:nvSpPr>
          <p:spPr>
            <a:xfrm>
              <a:off x="9800890" y="1595140"/>
              <a:ext cx="48175" cy="42606"/>
            </a:xfrm>
            <a:custGeom>
              <a:avLst/>
              <a:gdLst>
                <a:gd name="connsiteX0" fmla="*/ 0 w 48175"/>
                <a:gd name="connsiteY0" fmla="*/ 0 h 42606"/>
                <a:gd name="connsiteX1" fmla="*/ 48176 w 48175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42606">
                  <a:moveTo>
                    <a:pt x="0" y="0"/>
                  </a:moveTo>
                  <a:lnTo>
                    <a:pt x="48176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6" name="Freeform: Shape 1505">
              <a:extLst>
                <a:ext uri="{FF2B5EF4-FFF2-40B4-BE49-F238E27FC236}">
                  <a16:creationId xmlns:a16="http://schemas.microsoft.com/office/drawing/2014/main" id="{0E1C2843-7013-4E04-B72D-3D0980CC2AE6}"/>
                </a:ext>
              </a:extLst>
            </p:cNvPr>
            <p:cNvSpPr/>
            <p:nvPr/>
          </p:nvSpPr>
          <p:spPr>
            <a:xfrm>
              <a:off x="1818434" y="3621316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0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7" name="Freeform: Shape 1506">
              <a:extLst>
                <a:ext uri="{FF2B5EF4-FFF2-40B4-BE49-F238E27FC236}">
                  <a16:creationId xmlns:a16="http://schemas.microsoft.com/office/drawing/2014/main" id="{E5025800-BF52-40D6-90D9-9781FF5EA319}"/>
                </a:ext>
              </a:extLst>
            </p:cNvPr>
            <p:cNvSpPr/>
            <p:nvPr/>
          </p:nvSpPr>
          <p:spPr>
            <a:xfrm>
              <a:off x="1363965" y="4524965"/>
              <a:ext cx="45391" cy="40100"/>
            </a:xfrm>
            <a:custGeom>
              <a:avLst/>
              <a:gdLst>
                <a:gd name="connsiteX0" fmla="*/ 0 w 45391"/>
                <a:gd name="connsiteY0" fmla="*/ 0 h 40100"/>
                <a:gd name="connsiteX1" fmla="*/ 45391 w 45391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91" h="40100">
                  <a:moveTo>
                    <a:pt x="0" y="0"/>
                  </a:moveTo>
                  <a:lnTo>
                    <a:pt x="45391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8" name="Freeform: Shape 1507">
              <a:extLst>
                <a:ext uri="{FF2B5EF4-FFF2-40B4-BE49-F238E27FC236}">
                  <a16:creationId xmlns:a16="http://schemas.microsoft.com/office/drawing/2014/main" id="{6CA4968F-29D8-4CE1-B5F7-3FA03F8F3C2A}"/>
                </a:ext>
              </a:extLst>
            </p:cNvPr>
            <p:cNvSpPr/>
            <p:nvPr/>
          </p:nvSpPr>
          <p:spPr>
            <a:xfrm>
              <a:off x="1131161" y="4522458"/>
              <a:ext cx="32302" cy="42606"/>
            </a:xfrm>
            <a:custGeom>
              <a:avLst/>
              <a:gdLst>
                <a:gd name="connsiteX0" fmla="*/ 0 w 32302"/>
                <a:gd name="connsiteY0" fmla="*/ 0 h 42606"/>
                <a:gd name="connsiteX1" fmla="*/ 32303 w 32302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302" h="42606">
                  <a:moveTo>
                    <a:pt x="0" y="0"/>
                  </a:moveTo>
                  <a:lnTo>
                    <a:pt x="32303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9" name="Freeform: Shape 1508">
              <a:extLst>
                <a:ext uri="{FF2B5EF4-FFF2-40B4-BE49-F238E27FC236}">
                  <a16:creationId xmlns:a16="http://schemas.microsoft.com/office/drawing/2014/main" id="{B1970FF1-2CAD-4F14-8668-992A510E0197}"/>
                </a:ext>
              </a:extLst>
            </p:cNvPr>
            <p:cNvSpPr/>
            <p:nvPr/>
          </p:nvSpPr>
          <p:spPr>
            <a:xfrm>
              <a:off x="1591200" y="3843260"/>
              <a:ext cx="34530" cy="45391"/>
            </a:xfrm>
            <a:custGeom>
              <a:avLst/>
              <a:gdLst>
                <a:gd name="connsiteX0" fmla="*/ 0 w 34530"/>
                <a:gd name="connsiteY0" fmla="*/ 0 h 45391"/>
                <a:gd name="connsiteX1" fmla="*/ 34531 w 3453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30" h="45391">
                  <a:moveTo>
                    <a:pt x="0" y="0"/>
                  </a:moveTo>
                  <a:lnTo>
                    <a:pt x="34531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0" name="Freeform: Shape 1509">
              <a:extLst>
                <a:ext uri="{FF2B5EF4-FFF2-40B4-BE49-F238E27FC236}">
                  <a16:creationId xmlns:a16="http://schemas.microsoft.com/office/drawing/2014/main" id="{3AD74046-24FD-4183-9DB7-6A98769CF1FA}"/>
                </a:ext>
              </a:extLst>
            </p:cNvPr>
            <p:cNvSpPr/>
            <p:nvPr/>
          </p:nvSpPr>
          <p:spPr>
            <a:xfrm>
              <a:off x="7063491" y="696783"/>
              <a:ext cx="34809" cy="45391"/>
            </a:xfrm>
            <a:custGeom>
              <a:avLst/>
              <a:gdLst>
                <a:gd name="connsiteX0" fmla="*/ 0 w 34809"/>
                <a:gd name="connsiteY0" fmla="*/ 0 h 45391"/>
                <a:gd name="connsiteX1" fmla="*/ 34809 w 34809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45391">
                  <a:moveTo>
                    <a:pt x="0" y="0"/>
                  </a:moveTo>
                  <a:lnTo>
                    <a:pt x="34809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1" name="Freeform: Shape 1510">
              <a:extLst>
                <a:ext uri="{FF2B5EF4-FFF2-40B4-BE49-F238E27FC236}">
                  <a16:creationId xmlns:a16="http://schemas.microsoft.com/office/drawing/2014/main" id="{071B3723-F304-4715-9E12-52C8DCC0C2BF}"/>
                </a:ext>
              </a:extLst>
            </p:cNvPr>
            <p:cNvSpPr/>
            <p:nvPr/>
          </p:nvSpPr>
          <p:spPr>
            <a:xfrm>
              <a:off x="10258145" y="5645265"/>
              <a:ext cx="32024" cy="42606"/>
            </a:xfrm>
            <a:custGeom>
              <a:avLst/>
              <a:gdLst>
                <a:gd name="connsiteX0" fmla="*/ 0 w 32024"/>
                <a:gd name="connsiteY0" fmla="*/ 0 h 42606"/>
                <a:gd name="connsiteX1" fmla="*/ 32024 w 32024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42606">
                  <a:moveTo>
                    <a:pt x="0" y="0"/>
                  </a:moveTo>
                  <a:lnTo>
                    <a:pt x="32024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2" name="Freeform: Shape 1511">
              <a:extLst>
                <a:ext uri="{FF2B5EF4-FFF2-40B4-BE49-F238E27FC236}">
                  <a16:creationId xmlns:a16="http://schemas.microsoft.com/office/drawing/2014/main" id="{C145262F-41A8-481C-80DF-45E14C8150BA}"/>
                </a:ext>
              </a:extLst>
            </p:cNvPr>
            <p:cNvSpPr/>
            <p:nvPr/>
          </p:nvSpPr>
          <p:spPr>
            <a:xfrm>
              <a:off x="8662210" y="921233"/>
              <a:ext cx="34530" cy="45669"/>
            </a:xfrm>
            <a:custGeom>
              <a:avLst/>
              <a:gdLst>
                <a:gd name="connsiteX0" fmla="*/ 0 w 34530"/>
                <a:gd name="connsiteY0" fmla="*/ 0 h 45669"/>
                <a:gd name="connsiteX1" fmla="*/ 34531 w 3453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30" h="45669">
                  <a:moveTo>
                    <a:pt x="0" y="0"/>
                  </a:moveTo>
                  <a:lnTo>
                    <a:pt x="34531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3" name="Freeform: Shape 1512">
              <a:extLst>
                <a:ext uri="{FF2B5EF4-FFF2-40B4-BE49-F238E27FC236}">
                  <a16:creationId xmlns:a16="http://schemas.microsoft.com/office/drawing/2014/main" id="{A0A10A49-4E89-4011-8F9D-00EB50B6106B}"/>
                </a:ext>
              </a:extLst>
            </p:cNvPr>
            <p:cNvSpPr/>
            <p:nvPr/>
          </p:nvSpPr>
          <p:spPr>
            <a:xfrm>
              <a:off x="1591200" y="3394082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0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4" name="Freeform: Shape 1513">
              <a:extLst>
                <a:ext uri="{FF2B5EF4-FFF2-40B4-BE49-F238E27FC236}">
                  <a16:creationId xmlns:a16="http://schemas.microsoft.com/office/drawing/2014/main" id="{13AAF9EC-E9CD-42C3-8328-646C9C1E6FBF}"/>
                </a:ext>
              </a:extLst>
            </p:cNvPr>
            <p:cNvSpPr/>
            <p:nvPr/>
          </p:nvSpPr>
          <p:spPr>
            <a:xfrm>
              <a:off x="8432191" y="921233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0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5" name="Freeform: Shape 1514">
              <a:extLst>
                <a:ext uri="{FF2B5EF4-FFF2-40B4-BE49-F238E27FC236}">
                  <a16:creationId xmlns:a16="http://schemas.microsoft.com/office/drawing/2014/main" id="{6215EB9E-8F3B-4E10-B8FF-A1162D1C0B5B}"/>
                </a:ext>
              </a:extLst>
            </p:cNvPr>
            <p:cNvSpPr/>
            <p:nvPr/>
          </p:nvSpPr>
          <p:spPr>
            <a:xfrm>
              <a:off x="7977721" y="921233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0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6" name="Freeform: Shape 1515">
              <a:extLst>
                <a:ext uri="{FF2B5EF4-FFF2-40B4-BE49-F238E27FC236}">
                  <a16:creationId xmlns:a16="http://schemas.microsoft.com/office/drawing/2014/main" id="{518955D5-2DC0-48D7-9DF8-956F19100D48}"/>
                </a:ext>
              </a:extLst>
            </p:cNvPr>
            <p:cNvSpPr/>
            <p:nvPr/>
          </p:nvSpPr>
          <p:spPr>
            <a:xfrm>
              <a:off x="7747702" y="921233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1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1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7" name="Freeform: Shape 1516">
              <a:extLst>
                <a:ext uri="{FF2B5EF4-FFF2-40B4-BE49-F238E27FC236}">
                  <a16:creationId xmlns:a16="http://schemas.microsoft.com/office/drawing/2014/main" id="{CFA3E997-4969-4E59-91C3-EC3E3ECFC104}"/>
                </a:ext>
              </a:extLst>
            </p:cNvPr>
            <p:cNvSpPr/>
            <p:nvPr/>
          </p:nvSpPr>
          <p:spPr>
            <a:xfrm>
              <a:off x="9573656" y="1367905"/>
              <a:ext cx="40100" cy="45391"/>
            </a:xfrm>
            <a:custGeom>
              <a:avLst/>
              <a:gdLst>
                <a:gd name="connsiteX0" fmla="*/ 0 w 40100"/>
                <a:gd name="connsiteY0" fmla="*/ 0 h 45391"/>
                <a:gd name="connsiteX1" fmla="*/ 40100 w 4010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391">
                  <a:moveTo>
                    <a:pt x="0" y="0"/>
                  </a:moveTo>
                  <a:lnTo>
                    <a:pt x="4010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9" name="Freeform: Shape 1518">
              <a:extLst>
                <a:ext uri="{FF2B5EF4-FFF2-40B4-BE49-F238E27FC236}">
                  <a16:creationId xmlns:a16="http://schemas.microsoft.com/office/drawing/2014/main" id="{89FA80C5-D2A7-42BD-8AC3-A5B13803EB61}"/>
                </a:ext>
              </a:extLst>
            </p:cNvPr>
            <p:cNvSpPr/>
            <p:nvPr/>
          </p:nvSpPr>
          <p:spPr>
            <a:xfrm>
              <a:off x="8204956" y="918726"/>
              <a:ext cx="40100" cy="45391"/>
            </a:xfrm>
            <a:custGeom>
              <a:avLst/>
              <a:gdLst>
                <a:gd name="connsiteX0" fmla="*/ 0 w 40100"/>
                <a:gd name="connsiteY0" fmla="*/ 0 h 45391"/>
                <a:gd name="connsiteX1" fmla="*/ 40100 w 4010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391">
                  <a:moveTo>
                    <a:pt x="0" y="0"/>
                  </a:moveTo>
                  <a:lnTo>
                    <a:pt x="4010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0" name="Freeform: Shape 1519">
              <a:extLst>
                <a:ext uri="{FF2B5EF4-FFF2-40B4-BE49-F238E27FC236}">
                  <a16:creationId xmlns:a16="http://schemas.microsoft.com/office/drawing/2014/main" id="{CF85A817-5641-408D-A684-E2EB99FACCD8}"/>
                </a:ext>
              </a:extLst>
            </p:cNvPr>
            <p:cNvSpPr/>
            <p:nvPr/>
          </p:nvSpPr>
          <p:spPr>
            <a:xfrm>
              <a:off x="7520467" y="918726"/>
              <a:ext cx="40100" cy="45391"/>
            </a:xfrm>
            <a:custGeom>
              <a:avLst/>
              <a:gdLst>
                <a:gd name="connsiteX0" fmla="*/ 0 w 40100"/>
                <a:gd name="connsiteY0" fmla="*/ 0 h 45391"/>
                <a:gd name="connsiteX1" fmla="*/ 40100 w 4010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391">
                  <a:moveTo>
                    <a:pt x="0" y="0"/>
                  </a:moveTo>
                  <a:lnTo>
                    <a:pt x="4010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1" name="Freeform: Shape 1520">
              <a:extLst>
                <a:ext uri="{FF2B5EF4-FFF2-40B4-BE49-F238E27FC236}">
                  <a16:creationId xmlns:a16="http://schemas.microsoft.com/office/drawing/2014/main" id="{2A4A1855-A11C-44C1-AAEC-18D270A7CC9F}"/>
                </a:ext>
              </a:extLst>
            </p:cNvPr>
            <p:cNvSpPr/>
            <p:nvPr/>
          </p:nvSpPr>
          <p:spPr>
            <a:xfrm>
              <a:off x="10028125" y="1592355"/>
              <a:ext cx="34809" cy="45391"/>
            </a:xfrm>
            <a:custGeom>
              <a:avLst/>
              <a:gdLst>
                <a:gd name="connsiteX0" fmla="*/ 0 w 34809"/>
                <a:gd name="connsiteY0" fmla="*/ 0 h 45391"/>
                <a:gd name="connsiteX1" fmla="*/ 34810 w 34809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45391">
                  <a:moveTo>
                    <a:pt x="0" y="0"/>
                  </a:moveTo>
                  <a:lnTo>
                    <a:pt x="3481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2" name="Freeform: Shape 1521">
              <a:extLst>
                <a:ext uri="{FF2B5EF4-FFF2-40B4-BE49-F238E27FC236}">
                  <a16:creationId xmlns:a16="http://schemas.microsoft.com/office/drawing/2014/main" id="{2E402352-A0B4-4B7B-83CE-3BE9ACCC536D}"/>
                </a:ext>
              </a:extLst>
            </p:cNvPr>
            <p:cNvSpPr/>
            <p:nvPr/>
          </p:nvSpPr>
          <p:spPr>
            <a:xfrm>
              <a:off x="1133945" y="3172416"/>
              <a:ext cx="34809" cy="45391"/>
            </a:xfrm>
            <a:custGeom>
              <a:avLst/>
              <a:gdLst>
                <a:gd name="connsiteX0" fmla="*/ 0 w 34809"/>
                <a:gd name="connsiteY0" fmla="*/ 0 h 45391"/>
                <a:gd name="connsiteX1" fmla="*/ 34809 w 34809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45391">
                  <a:moveTo>
                    <a:pt x="0" y="0"/>
                  </a:moveTo>
                  <a:lnTo>
                    <a:pt x="34809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3" name="Freeform: Shape 1522">
              <a:extLst>
                <a:ext uri="{FF2B5EF4-FFF2-40B4-BE49-F238E27FC236}">
                  <a16:creationId xmlns:a16="http://schemas.microsoft.com/office/drawing/2014/main" id="{AA7912CB-751E-4BB6-83DD-E2A4EB1BB7D9}"/>
                </a:ext>
              </a:extLst>
            </p:cNvPr>
            <p:cNvSpPr/>
            <p:nvPr/>
          </p:nvSpPr>
          <p:spPr>
            <a:xfrm>
              <a:off x="1131161" y="4746908"/>
              <a:ext cx="34809" cy="40100"/>
            </a:xfrm>
            <a:custGeom>
              <a:avLst/>
              <a:gdLst>
                <a:gd name="connsiteX0" fmla="*/ 0 w 34809"/>
                <a:gd name="connsiteY0" fmla="*/ 0 h 40100"/>
                <a:gd name="connsiteX1" fmla="*/ 34809 w 34809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40100">
                  <a:moveTo>
                    <a:pt x="0" y="0"/>
                  </a:moveTo>
                  <a:lnTo>
                    <a:pt x="3480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4" name="Freeform: Shape 1523">
              <a:extLst>
                <a:ext uri="{FF2B5EF4-FFF2-40B4-BE49-F238E27FC236}">
                  <a16:creationId xmlns:a16="http://schemas.microsoft.com/office/drawing/2014/main" id="{00717562-E173-467B-8C09-EAC2907303BC}"/>
                </a:ext>
              </a:extLst>
            </p:cNvPr>
            <p:cNvSpPr/>
            <p:nvPr/>
          </p:nvSpPr>
          <p:spPr>
            <a:xfrm>
              <a:off x="10030910" y="5647772"/>
              <a:ext cx="42606" cy="42884"/>
            </a:xfrm>
            <a:custGeom>
              <a:avLst/>
              <a:gdLst>
                <a:gd name="connsiteX0" fmla="*/ 0 w 42606"/>
                <a:gd name="connsiteY0" fmla="*/ 0 h 42884"/>
                <a:gd name="connsiteX1" fmla="*/ 42606 w 4260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42884">
                  <a:moveTo>
                    <a:pt x="0" y="0"/>
                  </a:moveTo>
                  <a:lnTo>
                    <a:pt x="42606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5" name="Freeform: Shape 1524">
              <a:extLst>
                <a:ext uri="{FF2B5EF4-FFF2-40B4-BE49-F238E27FC236}">
                  <a16:creationId xmlns:a16="http://schemas.microsoft.com/office/drawing/2014/main" id="{4FD60DA7-0333-4323-ADB6-3B620604618F}"/>
                </a:ext>
              </a:extLst>
            </p:cNvPr>
            <p:cNvSpPr/>
            <p:nvPr/>
          </p:nvSpPr>
          <p:spPr>
            <a:xfrm>
              <a:off x="1133945" y="5647772"/>
              <a:ext cx="42884" cy="42884"/>
            </a:xfrm>
            <a:custGeom>
              <a:avLst/>
              <a:gdLst>
                <a:gd name="connsiteX0" fmla="*/ 0 w 42884"/>
                <a:gd name="connsiteY0" fmla="*/ 0 h 42884"/>
                <a:gd name="connsiteX1" fmla="*/ 42885 w 42884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2884">
                  <a:moveTo>
                    <a:pt x="0" y="0"/>
                  </a:moveTo>
                  <a:lnTo>
                    <a:pt x="42885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6" name="Freeform: Shape 1525">
              <a:extLst>
                <a:ext uri="{FF2B5EF4-FFF2-40B4-BE49-F238E27FC236}">
                  <a16:creationId xmlns:a16="http://schemas.microsoft.com/office/drawing/2014/main" id="{0DD56E74-C948-4DE1-821F-2A4C1DEC5DFE}"/>
                </a:ext>
              </a:extLst>
            </p:cNvPr>
            <p:cNvSpPr/>
            <p:nvPr/>
          </p:nvSpPr>
          <p:spPr>
            <a:xfrm>
              <a:off x="7293232" y="921233"/>
              <a:ext cx="42884" cy="42884"/>
            </a:xfrm>
            <a:custGeom>
              <a:avLst/>
              <a:gdLst>
                <a:gd name="connsiteX0" fmla="*/ 0 w 42884"/>
                <a:gd name="connsiteY0" fmla="*/ 0 h 42884"/>
                <a:gd name="connsiteX1" fmla="*/ 42885 w 42884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2884">
                  <a:moveTo>
                    <a:pt x="0" y="0"/>
                  </a:moveTo>
                  <a:lnTo>
                    <a:pt x="42885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7" name="Freeform: Shape 1526">
              <a:extLst>
                <a:ext uri="{FF2B5EF4-FFF2-40B4-BE49-F238E27FC236}">
                  <a16:creationId xmlns:a16="http://schemas.microsoft.com/office/drawing/2014/main" id="{E3935941-DAD8-40BA-9AAA-E929447C146A}"/>
                </a:ext>
              </a:extLst>
            </p:cNvPr>
            <p:cNvSpPr/>
            <p:nvPr/>
          </p:nvSpPr>
          <p:spPr>
            <a:xfrm>
              <a:off x="9116680" y="921233"/>
              <a:ext cx="29239" cy="40100"/>
            </a:xfrm>
            <a:custGeom>
              <a:avLst/>
              <a:gdLst>
                <a:gd name="connsiteX0" fmla="*/ 0 w 29239"/>
                <a:gd name="connsiteY0" fmla="*/ 0 h 40100"/>
                <a:gd name="connsiteX1" fmla="*/ 29240 w 29239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39" h="40100">
                  <a:moveTo>
                    <a:pt x="0" y="0"/>
                  </a:moveTo>
                  <a:lnTo>
                    <a:pt x="2924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9" name="Freeform: Shape 1528">
              <a:extLst>
                <a:ext uri="{FF2B5EF4-FFF2-40B4-BE49-F238E27FC236}">
                  <a16:creationId xmlns:a16="http://schemas.microsoft.com/office/drawing/2014/main" id="{468F6404-9F25-42CE-985F-477B0194374F}"/>
                </a:ext>
              </a:extLst>
            </p:cNvPr>
            <p:cNvSpPr/>
            <p:nvPr/>
          </p:nvSpPr>
          <p:spPr>
            <a:xfrm>
              <a:off x="8204956" y="693998"/>
              <a:ext cx="21442" cy="42884"/>
            </a:xfrm>
            <a:custGeom>
              <a:avLst/>
              <a:gdLst>
                <a:gd name="connsiteX0" fmla="*/ 0 w 21442"/>
                <a:gd name="connsiteY0" fmla="*/ 0 h 42884"/>
                <a:gd name="connsiteX1" fmla="*/ 21443 w 21442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42884">
                  <a:moveTo>
                    <a:pt x="0" y="0"/>
                  </a:moveTo>
                  <a:lnTo>
                    <a:pt x="21443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0" name="Freeform: Shape 1529">
              <a:extLst>
                <a:ext uri="{FF2B5EF4-FFF2-40B4-BE49-F238E27FC236}">
                  <a16:creationId xmlns:a16="http://schemas.microsoft.com/office/drawing/2014/main" id="{07877D56-1DAC-4D8A-B1FA-C513A5280B83}"/>
                </a:ext>
              </a:extLst>
            </p:cNvPr>
            <p:cNvSpPr/>
            <p:nvPr/>
          </p:nvSpPr>
          <p:spPr>
            <a:xfrm>
              <a:off x="7520467" y="693998"/>
              <a:ext cx="21442" cy="42884"/>
            </a:xfrm>
            <a:custGeom>
              <a:avLst/>
              <a:gdLst>
                <a:gd name="connsiteX0" fmla="*/ 0 w 21442"/>
                <a:gd name="connsiteY0" fmla="*/ 0 h 42884"/>
                <a:gd name="connsiteX1" fmla="*/ 21443 w 21442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42884">
                  <a:moveTo>
                    <a:pt x="0" y="0"/>
                  </a:moveTo>
                  <a:lnTo>
                    <a:pt x="21443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1" name="Freeform: Shape 1530">
              <a:extLst>
                <a:ext uri="{FF2B5EF4-FFF2-40B4-BE49-F238E27FC236}">
                  <a16:creationId xmlns:a16="http://schemas.microsoft.com/office/drawing/2014/main" id="{8E036B9C-ACC2-432F-8D7D-BB70EB9747BB}"/>
                </a:ext>
              </a:extLst>
            </p:cNvPr>
            <p:cNvSpPr/>
            <p:nvPr/>
          </p:nvSpPr>
          <p:spPr>
            <a:xfrm>
              <a:off x="1133945" y="5423322"/>
              <a:ext cx="42884" cy="42606"/>
            </a:xfrm>
            <a:custGeom>
              <a:avLst/>
              <a:gdLst>
                <a:gd name="connsiteX0" fmla="*/ 0 w 42884"/>
                <a:gd name="connsiteY0" fmla="*/ 0 h 42606"/>
                <a:gd name="connsiteX1" fmla="*/ 42885 w 42884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2606">
                  <a:moveTo>
                    <a:pt x="0" y="0"/>
                  </a:moveTo>
                  <a:lnTo>
                    <a:pt x="42885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2" name="Freeform: Shape 1531">
              <a:extLst>
                <a:ext uri="{FF2B5EF4-FFF2-40B4-BE49-F238E27FC236}">
                  <a16:creationId xmlns:a16="http://schemas.microsoft.com/office/drawing/2014/main" id="{74BC600E-8E24-4229-998C-1E712CD45722}"/>
                </a:ext>
              </a:extLst>
            </p:cNvPr>
            <p:cNvSpPr/>
            <p:nvPr/>
          </p:nvSpPr>
          <p:spPr>
            <a:xfrm>
              <a:off x="9116680" y="1145961"/>
              <a:ext cx="42606" cy="42606"/>
            </a:xfrm>
            <a:custGeom>
              <a:avLst/>
              <a:gdLst>
                <a:gd name="connsiteX0" fmla="*/ 0 w 42606"/>
                <a:gd name="connsiteY0" fmla="*/ 0 h 42606"/>
                <a:gd name="connsiteX1" fmla="*/ 42607 w 42606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42606">
                  <a:moveTo>
                    <a:pt x="0" y="0"/>
                  </a:moveTo>
                  <a:lnTo>
                    <a:pt x="42607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3" name="Freeform: Shape 1532">
              <a:extLst>
                <a:ext uri="{FF2B5EF4-FFF2-40B4-BE49-F238E27FC236}">
                  <a16:creationId xmlns:a16="http://schemas.microsoft.com/office/drawing/2014/main" id="{E7DAD47C-AAE7-44AA-9877-E25B9CB7387E}"/>
                </a:ext>
              </a:extLst>
            </p:cNvPr>
            <p:cNvSpPr/>
            <p:nvPr/>
          </p:nvSpPr>
          <p:spPr>
            <a:xfrm>
              <a:off x="9798384" y="1373196"/>
              <a:ext cx="34530" cy="40100"/>
            </a:xfrm>
            <a:custGeom>
              <a:avLst/>
              <a:gdLst>
                <a:gd name="connsiteX0" fmla="*/ 0 w 34530"/>
                <a:gd name="connsiteY0" fmla="*/ 0 h 40100"/>
                <a:gd name="connsiteX1" fmla="*/ 34531 w 34530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30" h="40100">
                  <a:moveTo>
                    <a:pt x="0" y="0"/>
                  </a:moveTo>
                  <a:lnTo>
                    <a:pt x="34531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4" name="Freeform: Shape 1533">
              <a:extLst>
                <a:ext uri="{FF2B5EF4-FFF2-40B4-BE49-F238E27FC236}">
                  <a16:creationId xmlns:a16="http://schemas.microsoft.com/office/drawing/2014/main" id="{0ECA4BF9-3B58-481D-91DD-C2C9129E0D69}"/>
                </a:ext>
              </a:extLst>
            </p:cNvPr>
            <p:cNvSpPr/>
            <p:nvPr/>
          </p:nvSpPr>
          <p:spPr>
            <a:xfrm>
              <a:off x="1131161" y="4073280"/>
              <a:ext cx="21442" cy="37315"/>
            </a:xfrm>
            <a:custGeom>
              <a:avLst/>
              <a:gdLst>
                <a:gd name="connsiteX0" fmla="*/ 0 w 21442"/>
                <a:gd name="connsiteY0" fmla="*/ 0 h 37315"/>
                <a:gd name="connsiteX1" fmla="*/ 21442 w 21442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37315">
                  <a:moveTo>
                    <a:pt x="0" y="0"/>
                  </a:moveTo>
                  <a:lnTo>
                    <a:pt x="21442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5" name="Freeform: Shape 1534">
              <a:extLst>
                <a:ext uri="{FF2B5EF4-FFF2-40B4-BE49-F238E27FC236}">
                  <a16:creationId xmlns:a16="http://schemas.microsoft.com/office/drawing/2014/main" id="{16107506-AE96-406E-8EB4-7EB80A78CCBD}"/>
                </a:ext>
              </a:extLst>
            </p:cNvPr>
            <p:cNvSpPr/>
            <p:nvPr/>
          </p:nvSpPr>
          <p:spPr>
            <a:xfrm>
              <a:off x="1361180" y="3394082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6" name="Freeform: Shape 1535">
              <a:extLst>
                <a:ext uri="{FF2B5EF4-FFF2-40B4-BE49-F238E27FC236}">
                  <a16:creationId xmlns:a16="http://schemas.microsoft.com/office/drawing/2014/main" id="{D27B7152-33E6-4E60-9F45-7621BE546902}"/>
                </a:ext>
              </a:extLst>
            </p:cNvPr>
            <p:cNvSpPr/>
            <p:nvPr/>
          </p:nvSpPr>
          <p:spPr>
            <a:xfrm>
              <a:off x="10252854" y="1597646"/>
              <a:ext cx="23948" cy="34809"/>
            </a:xfrm>
            <a:custGeom>
              <a:avLst/>
              <a:gdLst>
                <a:gd name="connsiteX0" fmla="*/ 0 w 23948"/>
                <a:gd name="connsiteY0" fmla="*/ 0 h 34809"/>
                <a:gd name="connsiteX1" fmla="*/ 23948 w 23948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34809">
                  <a:moveTo>
                    <a:pt x="0" y="0"/>
                  </a:moveTo>
                  <a:lnTo>
                    <a:pt x="2394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7" name="Freeform: Shape 1536">
              <a:extLst>
                <a:ext uri="{FF2B5EF4-FFF2-40B4-BE49-F238E27FC236}">
                  <a16:creationId xmlns:a16="http://schemas.microsoft.com/office/drawing/2014/main" id="{D60463E0-A40F-422F-9255-FC33BDF8CE5F}"/>
                </a:ext>
              </a:extLst>
            </p:cNvPr>
            <p:cNvSpPr/>
            <p:nvPr/>
          </p:nvSpPr>
          <p:spPr>
            <a:xfrm>
              <a:off x="6838763" y="696783"/>
              <a:ext cx="40100" cy="40100"/>
            </a:xfrm>
            <a:custGeom>
              <a:avLst/>
              <a:gdLst>
                <a:gd name="connsiteX0" fmla="*/ 0 w 40100"/>
                <a:gd name="connsiteY0" fmla="*/ 0 h 40100"/>
                <a:gd name="connsiteX1" fmla="*/ 40100 w 40100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0100">
                  <a:moveTo>
                    <a:pt x="0" y="0"/>
                  </a:moveTo>
                  <a:lnTo>
                    <a:pt x="4010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8" name="Freeform: Shape 1537">
              <a:extLst>
                <a:ext uri="{FF2B5EF4-FFF2-40B4-BE49-F238E27FC236}">
                  <a16:creationId xmlns:a16="http://schemas.microsoft.com/office/drawing/2014/main" id="{A429FDAF-F9CF-4177-91C0-13DFB8E7A76C}"/>
                </a:ext>
              </a:extLst>
            </p:cNvPr>
            <p:cNvSpPr/>
            <p:nvPr/>
          </p:nvSpPr>
          <p:spPr>
            <a:xfrm>
              <a:off x="7293232" y="696783"/>
              <a:ext cx="24227" cy="40100"/>
            </a:xfrm>
            <a:custGeom>
              <a:avLst/>
              <a:gdLst>
                <a:gd name="connsiteX0" fmla="*/ 0 w 24227"/>
                <a:gd name="connsiteY0" fmla="*/ 0 h 40100"/>
                <a:gd name="connsiteX1" fmla="*/ 24227 w 24227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40100">
                  <a:moveTo>
                    <a:pt x="0" y="0"/>
                  </a:moveTo>
                  <a:lnTo>
                    <a:pt x="24227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9" name="Freeform: Shape 1538">
              <a:extLst>
                <a:ext uri="{FF2B5EF4-FFF2-40B4-BE49-F238E27FC236}">
                  <a16:creationId xmlns:a16="http://schemas.microsoft.com/office/drawing/2014/main" id="{0DE99FDB-C4E9-4C3D-B652-474E815710C6}"/>
                </a:ext>
              </a:extLst>
            </p:cNvPr>
            <p:cNvSpPr/>
            <p:nvPr/>
          </p:nvSpPr>
          <p:spPr>
            <a:xfrm>
              <a:off x="906711" y="5196087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0" name="Freeform: Shape 1539">
              <a:extLst>
                <a:ext uri="{FF2B5EF4-FFF2-40B4-BE49-F238E27FC236}">
                  <a16:creationId xmlns:a16="http://schemas.microsoft.com/office/drawing/2014/main" id="{AA798FB3-0D48-43EA-AF16-613842D364DC}"/>
                </a:ext>
              </a:extLst>
            </p:cNvPr>
            <p:cNvSpPr/>
            <p:nvPr/>
          </p:nvSpPr>
          <p:spPr>
            <a:xfrm>
              <a:off x="906711" y="5645265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1" name="Freeform: Shape 1540">
              <a:extLst>
                <a:ext uri="{FF2B5EF4-FFF2-40B4-BE49-F238E27FC236}">
                  <a16:creationId xmlns:a16="http://schemas.microsoft.com/office/drawing/2014/main" id="{C1103C9A-C978-491C-B50D-2AE5D9A0DB74}"/>
                </a:ext>
              </a:extLst>
            </p:cNvPr>
            <p:cNvSpPr/>
            <p:nvPr/>
          </p:nvSpPr>
          <p:spPr>
            <a:xfrm>
              <a:off x="9573656" y="1143177"/>
              <a:ext cx="24227" cy="40100"/>
            </a:xfrm>
            <a:custGeom>
              <a:avLst/>
              <a:gdLst>
                <a:gd name="connsiteX0" fmla="*/ 0 w 24227"/>
                <a:gd name="connsiteY0" fmla="*/ 0 h 40100"/>
                <a:gd name="connsiteX1" fmla="*/ 24228 w 24227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40100">
                  <a:moveTo>
                    <a:pt x="0" y="0"/>
                  </a:moveTo>
                  <a:lnTo>
                    <a:pt x="24228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2" name="Freeform: Shape 1541">
              <a:extLst>
                <a:ext uri="{FF2B5EF4-FFF2-40B4-BE49-F238E27FC236}">
                  <a16:creationId xmlns:a16="http://schemas.microsoft.com/office/drawing/2014/main" id="{02DBC688-2E07-43E9-9F0F-3ACE7789D705}"/>
                </a:ext>
              </a:extLst>
            </p:cNvPr>
            <p:cNvSpPr/>
            <p:nvPr/>
          </p:nvSpPr>
          <p:spPr>
            <a:xfrm>
              <a:off x="1363965" y="4075786"/>
              <a:ext cx="29239" cy="40100"/>
            </a:xfrm>
            <a:custGeom>
              <a:avLst/>
              <a:gdLst>
                <a:gd name="connsiteX0" fmla="*/ 0 w 29239"/>
                <a:gd name="connsiteY0" fmla="*/ 0 h 40100"/>
                <a:gd name="connsiteX1" fmla="*/ 29240 w 29239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39" h="40100">
                  <a:moveTo>
                    <a:pt x="0" y="0"/>
                  </a:moveTo>
                  <a:lnTo>
                    <a:pt x="2924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3" name="Freeform: Shape 1542">
              <a:extLst>
                <a:ext uri="{FF2B5EF4-FFF2-40B4-BE49-F238E27FC236}">
                  <a16:creationId xmlns:a16="http://schemas.microsoft.com/office/drawing/2014/main" id="{9350D291-0D33-4EC6-9C1B-AAF617336B10}"/>
                </a:ext>
              </a:extLst>
            </p:cNvPr>
            <p:cNvSpPr/>
            <p:nvPr/>
          </p:nvSpPr>
          <p:spPr>
            <a:xfrm>
              <a:off x="10260651" y="1824881"/>
              <a:ext cx="29518" cy="40100"/>
            </a:xfrm>
            <a:custGeom>
              <a:avLst/>
              <a:gdLst>
                <a:gd name="connsiteX0" fmla="*/ 0 w 29518"/>
                <a:gd name="connsiteY0" fmla="*/ 0 h 40100"/>
                <a:gd name="connsiteX1" fmla="*/ 29518 w 2951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518" h="40100">
                  <a:moveTo>
                    <a:pt x="0" y="0"/>
                  </a:moveTo>
                  <a:lnTo>
                    <a:pt x="29518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4" name="Freeform: Shape 1543">
              <a:extLst>
                <a:ext uri="{FF2B5EF4-FFF2-40B4-BE49-F238E27FC236}">
                  <a16:creationId xmlns:a16="http://schemas.microsoft.com/office/drawing/2014/main" id="{493EC2BE-533B-4E07-B81E-94C6F6C04C60}"/>
                </a:ext>
              </a:extLst>
            </p:cNvPr>
            <p:cNvSpPr/>
            <p:nvPr/>
          </p:nvSpPr>
          <p:spPr>
            <a:xfrm>
              <a:off x="906711" y="5420537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5" name="Freeform: Shape 1544">
              <a:extLst>
                <a:ext uri="{FF2B5EF4-FFF2-40B4-BE49-F238E27FC236}">
                  <a16:creationId xmlns:a16="http://schemas.microsoft.com/office/drawing/2014/main" id="{F5E73528-29E4-468C-A502-66CCF3778AC2}"/>
                </a:ext>
              </a:extLst>
            </p:cNvPr>
            <p:cNvSpPr/>
            <p:nvPr/>
          </p:nvSpPr>
          <p:spPr>
            <a:xfrm>
              <a:off x="8889445" y="918726"/>
              <a:ext cx="29239" cy="40100"/>
            </a:xfrm>
            <a:custGeom>
              <a:avLst/>
              <a:gdLst>
                <a:gd name="connsiteX0" fmla="*/ 0 w 29239"/>
                <a:gd name="connsiteY0" fmla="*/ 0 h 40100"/>
                <a:gd name="connsiteX1" fmla="*/ 29240 w 29239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39" h="40100">
                  <a:moveTo>
                    <a:pt x="0" y="0"/>
                  </a:moveTo>
                  <a:lnTo>
                    <a:pt x="2924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6" name="Freeform: Shape 1545">
              <a:extLst>
                <a:ext uri="{FF2B5EF4-FFF2-40B4-BE49-F238E27FC236}">
                  <a16:creationId xmlns:a16="http://schemas.microsoft.com/office/drawing/2014/main" id="{FC335B72-DE0C-4E03-98D2-C8D49EE7F378}"/>
                </a:ext>
              </a:extLst>
            </p:cNvPr>
            <p:cNvSpPr/>
            <p:nvPr/>
          </p:nvSpPr>
          <p:spPr>
            <a:xfrm>
              <a:off x="6836257" y="469548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7" name="Freeform: Shape 1546">
              <a:extLst>
                <a:ext uri="{FF2B5EF4-FFF2-40B4-BE49-F238E27FC236}">
                  <a16:creationId xmlns:a16="http://schemas.microsoft.com/office/drawing/2014/main" id="{A954735D-F985-4C90-BE29-F6E71AE0395D}"/>
                </a:ext>
              </a:extLst>
            </p:cNvPr>
            <p:cNvSpPr/>
            <p:nvPr/>
          </p:nvSpPr>
          <p:spPr>
            <a:xfrm>
              <a:off x="1591200" y="3618810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8" name="Freeform: Shape 1547">
              <a:extLst>
                <a:ext uri="{FF2B5EF4-FFF2-40B4-BE49-F238E27FC236}">
                  <a16:creationId xmlns:a16="http://schemas.microsoft.com/office/drawing/2014/main" id="{6B8D2458-0605-4674-90B6-C361530ABFD9}"/>
                </a:ext>
              </a:extLst>
            </p:cNvPr>
            <p:cNvSpPr/>
            <p:nvPr/>
          </p:nvSpPr>
          <p:spPr>
            <a:xfrm>
              <a:off x="7974937" y="693998"/>
              <a:ext cx="21442" cy="37593"/>
            </a:xfrm>
            <a:custGeom>
              <a:avLst/>
              <a:gdLst>
                <a:gd name="connsiteX0" fmla="*/ 0 w 21442"/>
                <a:gd name="connsiteY0" fmla="*/ 0 h 37593"/>
                <a:gd name="connsiteX1" fmla="*/ 21442 w 21442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37593">
                  <a:moveTo>
                    <a:pt x="0" y="0"/>
                  </a:moveTo>
                  <a:lnTo>
                    <a:pt x="21442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9" name="Freeform: Shape 1548">
              <a:extLst>
                <a:ext uri="{FF2B5EF4-FFF2-40B4-BE49-F238E27FC236}">
                  <a16:creationId xmlns:a16="http://schemas.microsoft.com/office/drawing/2014/main" id="{840D4341-0825-4824-A2CE-4AEAFF9BCE10}"/>
                </a:ext>
              </a:extLst>
            </p:cNvPr>
            <p:cNvSpPr/>
            <p:nvPr/>
          </p:nvSpPr>
          <p:spPr>
            <a:xfrm>
              <a:off x="8889445" y="693998"/>
              <a:ext cx="15873" cy="37593"/>
            </a:xfrm>
            <a:custGeom>
              <a:avLst/>
              <a:gdLst>
                <a:gd name="connsiteX0" fmla="*/ 0 w 15873"/>
                <a:gd name="connsiteY0" fmla="*/ 0 h 37593"/>
                <a:gd name="connsiteX1" fmla="*/ 15873 w 15873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873" h="37593">
                  <a:moveTo>
                    <a:pt x="0" y="0"/>
                  </a:moveTo>
                  <a:lnTo>
                    <a:pt x="15873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0" name="Freeform: Shape 1549">
              <a:extLst>
                <a:ext uri="{FF2B5EF4-FFF2-40B4-BE49-F238E27FC236}">
                  <a16:creationId xmlns:a16="http://schemas.microsoft.com/office/drawing/2014/main" id="{5CBD1BDE-E67D-4453-9235-9A57AC740850}"/>
                </a:ext>
              </a:extLst>
            </p:cNvPr>
            <p:cNvSpPr/>
            <p:nvPr/>
          </p:nvSpPr>
          <p:spPr>
            <a:xfrm>
              <a:off x="1131161" y="4297730"/>
              <a:ext cx="24227" cy="34809"/>
            </a:xfrm>
            <a:custGeom>
              <a:avLst/>
              <a:gdLst>
                <a:gd name="connsiteX0" fmla="*/ 0 w 24227"/>
                <a:gd name="connsiteY0" fmla="*/ 0 h 34809"/>
                <a:gd name="connsiteX1" fmla="*/ 24227 w 2422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34809">
                  <a:moveTo>
                    <a:pt x="0" y="0"/>
                  </a:moveTo>
                  <a:lnTo>
                    <a:pt x="24227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2" name="Freeform: Shape 1551">
              <a:extLst>
                <a:ext uri="{FF2B5EF4-FFF2-40B4-BE49-F238E27FC236}">
                  <a16:creationId xmlns:a16="http://schemas.microsoft.com/office/drawing/2014/main" id="{A3638123-C6FF-4B12-AFA9-8B54AD1937CB}"/>
                </a:ext>
              </a:extLst>
            </p:cNvPr>
            <p:cNvSpPr/>
            <p:nvPr/>
          </p:nvSpPr>
          <p:spPr>
            <a:xfrm>
              <a:off x="6609022" y="472333"/>
              <a:ext cx="32024" cy="37315"/>
            </a:xfrm>
            <a:custGeom>
              <a:avLst/>
              <a:gdLst>
                <a:gd name="connsiteX0" fmla="*/ 0 w 32024"/>
                <a:gd name="connsiteY0" fmla="*/ 0 h 37315"/>
                <a:gd name="connsiteX1" fmla="*/ 32025 w 32024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37315">
                  <a:moveTo>
                    <a:pt x="0" y="0"/>
                  </a:moveTo>
                  <a:lnTo>
                    <a:pt x="32025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3" name="Freeform: Shape 1552">
              <a:extLst>
                <a:ext uri="{FF2B5EF4-FFF2-40B4-BE49-F238E27FC236}">
                  <a16:creationId xmlns:a16="http://schemas.microsoft.com/office/drawing/2014/main" id="{C5A0DDC1-368E-414D-B700-567E3E4C6B89}"/>
                </a:ext>
              </a:extLst>
            </p:cNvPr>
            <p:cNvSpPr/>
            <p:nvPr/>
          </p:nvSpPr>
          <p:spPr>
            <a:xfrm>
              <a:off x="676691" y="5645265"/>
              <a:ext cx="16151" cy="37315"/>
            </a:xfrm>
            <a:custGeom>
              <a:avLst/>
              <a:gdLst>
                <a:gd name="connsiteX0" fmla="*/ 0 w 16151"/>
                <a:gd name="connsiteY0" fmla="*/ 0 h 37315"/>
                <a:gd name="connsiteX1" fmla="*/ 16151 w 16151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37315">
                  <a:moveTo>
                    <a:pt x="0" y="0"/>
                  </a:moveTo>
                  <a:lnTo>
                    <a:pt x="16151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4" name="Freeform: Shape 1553">
              <a:extLst>
                <a:ext uri="{FF2B5EF4-FFF2-40B4-BE49-F238E27FC236}">
                  <a16:creationId xmlns:a16="http://schemas.microsoft.com/office/drawing/2014/main" id="{0B2DBB84-D0A1-472D-B0F4-C8815A068FA7}"/>
                </a:ext>
              </a:extLst>
            </p:cNvPr>
            <p:cNvSpPr/>
            <p:nvPr/>
          </p:nvSpPr>
          <p:spPr>
            <a:xfrm>
              <a:off x="1363965" y="4300515"/>
              <a:ext cx="32024" cy="37315"/>
            </a:xfrm>
            <a:custGeom>
              <a:avLst/>
              <a:gdLst>
                <a:gd name="connsiteX0" fmla="*/ 0 w 32024"/>
                <a:gd name="connsiteY0" fmla="*/ 0 h 37315"/>
                <a:gd name="connsiteX1" fmla="*/ 32024 w 32024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37315">
                  <a:moveTo>
                    <a:pt x="0" y="0"/>
                  </a:moveTo>
                  <a:lnTo>
                    <a:pt x="32024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5" name="Freeform: Shape 1554">
              <a:extLst>
                <a:ext uri="{FF2B5EF4-FFF2-40B4-BE49-F238E27FC236}">
                  <a16:creationId xmlns:a16="http://schemas.microsoft.com/office/drawing/2014/main" id="{38DE7272-C6F3-44ED-9E70-E9D1E1ECB9B4}"/>
                </a:ext>
              </a:extLst>
            </p:cNvPr>
            <p:cNvSpPr/>
            <p:nvPr/>
          </p:nvSpPr>
          <p:spPr>
            <a:xfrm>
              <a:off x="676691" y="5420537"/>
              <a:ext cx="16151" cy="37593"/>
            </a:xfrm>
            <a:custGeom>
              <a:avLst/>
              <a:gdLst>
                <a:gd name="connsiteX0" fmla="*/ 0 w 16151"/>
                <a:gd name="connsiteY0" fmla="*/ 0 h 37593"/>
                <a:gd name="connsiteX1" fmla="*/ 16151 w 16151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37593">
                  <a:moveTo>
                    <a:pt x="0" y="0"/>
                  </a:moveTo>
                  <a:lnTo>
                    <a:pt x="16151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6" name="Freeform: Shape 1555">
              <a:extLst>
                <a:ext uri="{FF2B5EF4-FFF2-40B4-BE49-F238E27FC236}">
                  <a16:creationId xmlns:a16="http://schemas.microsoft.com/office/drawing/2014/main" id="{2F6AF9DD-55F6-47D0-A5C2-F3B334547D39}"/>
                </a:ext>
              </a:extLst>
            </p:cNvPr>
            <p:cNvSpPr/>
            <p:nvPr/>
          </p:nvSpPr>
          <p:spPr>
            <a:xfrm>
              <a:off x="679476" y="2947688"/>
              <a:ext cx="26733" cy="37593"/>
            </a:xfrm>
            <a:custGeom>
              <a:avLst/>
              <a:gdLst>
                <a:gd name="connsiteX0" fmla="*/ 0 w 26733"/>
                <a:gd name="connsiteY0" fmla="*/ 0 h 37593"/>
                <a:gd name="connsiteX1" fmla="*/ 26734 w 26733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37593">
                  <a:moveTo>
                    <a:pt x="0" y="0"/>
                  </a:moveTo>
                  <a:lnTo>
                    <a:pt x="26734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7" name="Freeform: Shape 1556">
              <a:extLst>
                <a:ext uri="{FF2B5EF4-FFF2-40B4-BE49-F238E27FC236}">
                  <a16:creationId xmlns:a16="http://schemas.microsoft.com/office/drawing/2014/main" id="{777C73DD-552B-4573-8E79-33CA468B3E4B}"/>
                </a:ext>
              </a:extLst>
            </p:cNvPr>
            <p:cNvSpPr/>
            <p:nvPr/>
          </p:nvSpPr>
          <p:spPr>
            <a:xfrm>
              <a:off x="1131161" y="3399651"/>
              <a:ext cx="16151" cy="32024"/>
            </a:xfrm>
            <a:custGeom>
              <a:avLst/>
              <a:gdLst>
                <a:gd name="connsiteX0" fmla="*/ 0 w 16151"/>
                <a:gd name="connsiteY0" fmla="*/ 0 h 32024"/>
                <a:gd name="connsiteX1" fmla="*/ 16151 w 1615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32024">
                  <a:moveTo>
                    <a:pt x="0" y="0"/>
                  </a:moveTo>
                  <a:lnTo>
                    <a:pt x="16151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8" name="Freeform: Shape 1557">
              <a:extLst>
                <a:ext uri="{FF2B5EF4-FFF2-40B4-BE49-F238E27FC236}">
                  <a16:creationId xmlns:a16="http://schemas.microsoft.com/office/drawing/2014/main" id="{7983AF5E-E7DA-40A9-BA14-9A6C6183E996}"/>
                </a:ext>
              </a:extLst>
            </p:cNvPr>
            <p:cNvSpPr/>
            <p:nvPr/>
          </p:nvSpPr>
          <p:spPr>
            <a:xfrm>
              <a:off x="906711" y="3169632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9" name="Freeform: Shape 1558">
              <a:extLst>
                <a:ext uri="{FF2B5EF4-FFF2-40B4-BE49-F238E27FC236}">
                  <a16:creationId xmlns:a16="http://schemas.microsoft.com/office/drawing/2014/main" id="{EC266588-8EF9-4761-8F71-083C4C995B69}"/>
                </a:ext>
              </a:extLst>
            </p:cNvPr>
            <p:cNvSpPr/>
            <p:nvPr/>
          </p:nvSpPr>
          <p:spPr>
            <a:xfrm>
              <a:off x="8659426" y="693998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0" name="Freeform: Shape 1559">
              <a:extLst>
                <a:ext uri="{FF2B5EF4-FFF2-40B4-BE49-F238E27FC236}">
                  <a16:creationId xmlns:a16="http://schemas.microsoft.com/office/drawing/2014/main" id="{9307E7DC-99FC-44A0-A872-B3E1AD3A7F7A}"/>
                </a:ext>
              </a:extLst>
            </p:cNvPr>
            <p:cNvSpPr/>
            <p:nvPr/>
          </p:nvSpPr>
          <p:spPr>
            <a:xfrm>
              <a:off x="10030910" y="1375702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1" name="Freeform: Shape 1560">
              <a:extLst>
                <a:ext uri="{FF2B5EF4-FFF2-40B4-BE49-F238E27FC236}">
                  <a16:creationId xmlns:a16="http://schemas.microsoft.com/office/drawing/2014/main" id="{C8BD09A6-4162-4453-9B94-D7960DFF38B5}"/>
                </a:ext>
              </a:extLst>
            </p:cNvPr>
            <p:cNvSpPr/>
            <p:nvPr/>
          </p:nvSpPr>
          <p:spPr>
            <a:xfrm>
              <a:off x="906711" y="4971358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2" name="Freeform: Shape 1561">
              <a:extLst>
                <a:ext uri="{FF2B5EF4-FFF2-40B4-BE49-F238E27FC236}">
                  <a16:creationId xmlns:a16="http://schemas.microsoft.com/office/drawing/2014/main" id="{45F94220-F76A-41AB-9D2F-28BAA6088C05}"/>
                </a:ext>
              </a:extLst>
            </p:cNvPr>
            <p:cNvSpPr/>
            <p:nvPr/>
          </p:nvSpPr>
          <p:spPr>
            <a:xfrm>
              <a:off x="906711" y="4746908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3" name="Freeform: Shape 1562">
              <a:extLst>
                <a:ext uri="{FF2B5EF4-FFF2-40B4-BE49-F238E27FC236}">
                  <a16:creationId xmlns:a16="http://schemas.microsoft.com/office/drawing/2014/main" id="{55C4524B-5122-496C-A132-D3B909BCC197}"/>
                </a:ext>
              </a:extLst>
            </p:cNvPr>
            <p:cNvSpPr/>
            <p:nvPr/>
          </p:nvSpPr>
          <p:spPr>
            <a:xfrm>
              <a:off x="9343915" y="918726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4" name="Freeform: Shape 1563">
              <a:extLst>
                <a:ext uri="{FF2B5EF4-FFF2-40B4-BE49-F238E27FC236}">
                  <a16:creationId xmlns:a16="http://schemas.microsoft.com/office/drawing/2014/main" id="{9E9ED03A-35D1-4133-ACF3-257226428458}"/>
                </a:ext>
              </a:extLst>
            </p:cNvPr>
            <p:cNvSpPr/>
            <p:nvPr/>
          </p:nvSpPr>
          <p:spPr>
            <a:xfrm>
              <a:off x="676691" y="3169632"/>
              <a:ext cx="10860" cy="32024"/>
            </a:xfrm>
            <a:custGeom>
              <a:avLst/>
              <a:gdLst>
                <a:gd name="connsiteX0" fmla="*/ 0 w 10860"/>
                <a:gd name="connsiteY0" fmla="*/ 0 h 32024"/>
                <a:gd name="connsiteX1" fmla="*/ 10860 w 10860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32024">
                  <a:moveTo>
                    <a:pt x="0" y="0"/>
                  </a:moveTo>
                  <a:lnTo>
                    <a:pt x="1086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5" name="Freeform: Shape 1564">
              <a:extLst>
                <a:ext uri="{FF2B5EF4-FFF2-40B4-BE49-F238E27FC236}">
                  <a16:creationId xmlns:a16="http://schemas.microsoft.com/office/drawing/2014/main" id="{F9EE83D9-306B-4862-AD41-073158A10C3F}"/>
                </a:ext>
              </a:extLst>
            </p:cNvPr>
            <p:cNvSpPr/>
            <p:nvPr/>
          </p:nvSpPr>
          <p:spPr>
            <a:xfrm>
              <a:off x="1363965" y="3626886"/>
              <a:ext cx="18657" cy="29239"/>
            </a:xfrm>
            <a:custGeom>
              <a:avLst/>
              <a:gdLst>
                <a:gd name="connsiteX0" fmla="*/ 0 w 18657"/>
                <a:gd name="connsiteY0" fmla="*/ 0 h 29239"/>
                <a:gd name="connsiteX1" fmla="*/ 18658 w 18657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29239">
                  <a:moveTo>
                    <a:pt x="0" y="0"/>
                  </a:moveTo>
                  <a:lnTo>
                    <a:pt x="18658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6" name="Freeform: Shape 1565">
              <a:extLst>
                <a:ext uri="{FF2B5EF4-FFF2-40B4-BE49-F238E27FC236}">
                  <a16:creationId xmlns:a16="http://schemas.microsoft.com/office/drawing/2014/main" id="{D8C94CEE-6736-4AE5-A00A-37DD3BD45AE8}"/>
                </a:ext>
              </a:extLst>
            </p:cNvPr>
            <p:cNvSpPr/>
            <p:nvPr/>
          </p:nvSpPr>
          <p:spPr>
            <a:xfrm>
              <a:off x="7290726" y="469548"/>
              <a:ext cx="10582" cy="32024"/>
            </a:xfrm>
            <a:custGeom>
              <a:avLst/>
              <a:gdLst>
                <a:gd name="connsiteX0" fmla="*/ 0 w 10582"/>
                <a:gd name="connsiteY0" fmla="*/ 0 h 32024"/>
                <a:gd name="connsiteX1" fmla="*/ 10582 w 10582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32024">
                  <a:moveTo>
                    <a:pt x="0" y="0"/>
                  </a:moveTo>
                  <a:lnTo>
                    <a:pt x="10582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8" name="Freeform: Shape 1567">
              <a:extLst>
                <a:ext uri="{FF2B5EF4-FFF2-40B4-BE49-F238E27FC236}">
                  <a16:creationId xmlns:a16="http://schemas.microsoft.com/office/drawing/2014/main" id="{646B2552-EED4-4A0A-85EA-3E777A72F448}"/>
                </a:ext>
              </a:extLst>
            </p:cNvPr>
            <p:cNvSpPr/>
            <p:nvPr/>
          </p:nvSpPr>
          <p:spPr>
            <a:xfrm>
              <a:off x="906711" y="4297730"/>
              <a:ext cx="10582" cy="32024"/>
            </a:xfrm>
            <a:custGeom>
              <a:avLst/>
              <a:gdLst>
                <a:gd name="connsiteX0" fmla="*/ 0 w 10582"/>
                <a:gd name="connsiteY0" fmla="*/ 0 h 32024"/>
                <a:gd name="connsiteX1" fmla="*/ 10582 w 10582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32024">
                  <a:moveTo>
                    <a:pt x="0" y="0"/>
                  </a:moveTo>
                  <a:lnTo>
                    <a:pt x="10582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9" name="Freeform: Shape 1568">
              <a:extLst>
                <a:ext uri="{FF2B5EF4-FFF2-40B4-BE49-F238E27FC236}">
                  <a16:creationId xmlns:a16="http://schemas.microsoft.com/office/drawing/2014/main" id="{150A7F63-7A5B-40A3-B2C4-1A918280210E}"/>
                </a:ext>
              </a:extLst>
            </p:cNvPr>
            <p:cNvSpPr/>
            <p:nvPr/>
          </p:nvSpPr>
          <p:spPr>
            <a:xfrm>
              <a:off x="8434976" y="702074"/>
              <a:ext cx="21164" cy="29518"/>
            </a:xfrm>
            <a:custGeom>
              <a:avLst/>
              <a:gdLst>
                <a:gd name="connsiteX0" fmla="*/ 0 w 21164"/>
                <a:gd name="connsiteY0" fmla="*/ 0 h 29518"/>
                <a:gd name="connsiteX1" fmla="*/ 21164 w 21164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29518">
                  <a:moveTo>
                    <a:pt x="0" y="0"/>
                  </a:moveTo>
                  <a:lnTo>
                    <a:pt x="21164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0" name="Freeform: Shape 1569">
              <a:extLst>
                <a:ext uri="{FF2B5EF4-FFF2-40B4-BE49-F238E27FC236}">
                  <a16:creationId xmlns:a16="http://schemas.microsoft.com/office/drawing/2014/main" id="{F7BB89E3-9DA9-49E7-A572-03F3A8957355}"/>
                </a:ext>
              </a:extLst>
            </p:cNvPr>
            <p:cNvSpPr/>
            <p:nvPr/>
          </p:nvSpPr>
          <p:spPr>
            <a:xfrm>
              <a:off x="7753271" y="702074"/>
              <a:ext cx="18657" cy="29518"/>
            </a:xfrm>
            <a:custGeom>
              <a:avLst/>
              <a:gdLst>
                <a:gd name="connsiteX0" fmla="*/ 0 w 18657"/>
                <a:gd name="connsiteY0" fmla="*/ 0 h 29518"/>
                <a:gd name="connsiteX1" fmla="*/ 18657 w 1865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29518">
                  <a:moveTo>
                    <a:pt x="0" y="0"/>
                  </a:moveTo>
                  <a:lnTo>
                    <a:pt x="1865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1" name="Freeform: Shape 1570">
              <a:extLst>
                <a:ext uri="{FF2B5EF4-FFF2-40B4-BE49-F238E27FC236}">
                  <a16:creationId xmlns:a16="http://schemas.microsoft.com/office/drawing/2014/main" id="{EDBB2263-180E-4C1B-BD70-5C5462A2494A}"/>
                </a:ext>
              </a:extLst>
            </p:cNvPr>
            <p:cNvSpPr/>
            <p:nvPr/>
          </p:nvSpPr>
          <p:spPr>
            <a:xfrm>
              <a:off x="1363965" y="3851336"/>
              <a:ext cx="21164" cy="32024"/>
            </a:xfrm>
            <a:custGeom>
              <a:avLst/>
              <a:gdLst>
                <a:gd name="connsiteX0" fmla="*/ 0 w 21164"/>
                <a:gd name="connsiteY0" fmla="*/ 0 h 32024"/>
                <a:gd name="connsiteX1" fmla="*/ 21164 w 21164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32024">
                  <a:moveTo>
                    <a:pt x="0" y="0"/>
                  </a:moveTo>
                  <a:lnTo>
                    <a:pt x="21164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2" name="Freeform: Shape 1571">
              <a:extLst>
                <a:ext uri="{FF2B5EF4-FFF2-40B4-BE49-F238E27FC236}">
                  <a16:creationId xmlns:a16="http://schemas.microsoft.com/office/drawing/2014/main" id="{86909FFA-8466-4105-ACB7-7659C0D9221A}"/>
                </a:ext>
              </a:extLst>
            </p:cNvPr>
            <p:cNvSpPr/>
            <p:nvPr/>
          </p:nvSpPr>
          <p:spPr>
            <a:xfrm>
              <a:off x="9573656" y="918726"/>
              <a:ext cx="10860" cy="32024"/>
            </a:xfrm>
            <a:custGeom>
              <a:avLst/>
              <a:gdLst>
                <a:gd name="connsiteX0" fmla="*/ 0 w 10860"/>
                <a:gd name="connsiteY0" fmla="*/ 0 h 32024"/>
                <a:gd name="connsiteX1" fmla="*/ 10861 w 10860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32024">
                  <a:moveTo>
                    <a:pt x="0" y="0"/>
                  </a:moveTo>
                  <a:lnTo>
                    <a:pt x="10861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3" name="Freeform: Shape 1572">
              <a:extLst>
                <a:ext uri="{FF2B5EF4-FFF2-40B4-BE49-F238E27FC236}">
                  <a16:creationId xmlns:a16="http://schemas.microsoft.com/office/drawing/2014/main" id="{F91CE478-83D5-47C6-BF74-83BDADBDE15C}"/>
                </a:ext>
              </a:extLst>
            </p:cNvPr>
            <p:cNvSpPr/>
            <p:nvPr/>
          </p:nvSpPr>
          <p:spPr>
            <a:xfrm>
              <a:off x="9798384" y="1148468"/>
              <a:ext cx="18657" cy="29518"/>
            </a:xfrm>
            <a:custGeom>
              <a:avLst/>
              <a:gdLst>
                <a:gd name="connsiteX0" fmla="*/ 0 w 18657"/>
                <a:gd name="connsiteY0" fmla="*/ 0 h 29518"/>
                <a:gd name="connsiteX1" fmla="*/ 18658 w 1865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29518">
                  <a:moveTo>
                    <a:pt x="0" y="0"/>
                  </a:moveTo>
                  <a:lnTo>
                    <a:pt x="18658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4" name="Freeform: Shape 1573">
              <a:extLst>
                <a:ext uri="{FF2B5EF4-FFF2-40B4-BE49-F238E27FC236}">
                  <a16:creationId xmlns:a16="http://schemas.microsoft.com/office/drawing/2014/main" id="{9D3CAD05-C5CE-4413-9C46-C8522DD9EA76}"/>
                </a:ext>
              </a:extLst>
            </p:cNvPr>
            <p:cNvSpPr/>
            <p:nvPr/>
          </p:nvSpPr>
          <p:spPr>
            <a:xfrm>
              <a:off x="452241" y="2952979"/>
              <a:ext cx="13366" cy="29518"/>
            </a:xfrm>
            <a:custGeom>
              <a:avLst/>
              <a:gdLst>
                <a:gd name="connsiteX0" fmla="*/ 0 w 13366"/>
                <a:gd name="connsiteY0" fmla="*/ 0 h 29518"/>
                <a:gd name="connsiteX1" fmla="*/ 13367 w 1336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9518">
                  <a:moveTo>
                    <a:pt x="0" y="0"/>
                  </a:moveTo>
                  <a:lnTo>
                    <a:pt x="133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5" name="Freeform: Shape 1574">
              <a:extLst>
                <a:ext uri="{FF2B5EF4-FFF2-40B4-BE49-F238E27FC236}">
                  <a16:creationId xmlns:a16="http://schemas.microsoft.com/office/drawing/2014/main" id="{88204051-90FA-4803-97F7-18D0DD2BBACA}"/>
                </a:ext>
              </a:extLst>
            </p:cNvPr>
            <p:cNvSpPr/>
            <p:nvPr/>
          </p:nvSpPr>
          <p:spPr>
            <a:xfrm>
              <a:off x="8204956" y="469548"/>
              <a:ext cx="10582" cy="26733"/>
            </a:xfrm>
            <a:custGeom>
              <a:avLst/>
              <a:gdLst>
                <a:gd name="connsiteX0" fmla="*/ 0 w 10582"/>
                <a:gd name="connsiteY0" fmla="*/ 0 h 26733"/>
                <a:gd name="connsiteX1" fmla="*/ 10582 w 10582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26733">
                  <a:moveTo>
                    <a:pt x="0" y="0"/>
                  </a:moveTo>
                  <a:lnTo>
                    <a:pt x="10582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7" name="Freeform: Shape 1576">
              <a:extLst>
                <a:ext uri="{FF2B5EF4-FFF2-40B4-BE49-F238E27FC236}">
                  <a16:creationId xmlns:a16="http://schemas.microsoft.com/office/drawing/2014/main" id="{0E6381B5-7180-48BA-8978-1EB7A04D6AEB}"/>
                </a:ext>
              </a:extLst>
            </p:cNvPr>
            <p:cNvSpPr/>
            <p:nvPr/>
          </p:nvSpPr>
          <p:spPr>
            <a:xfrm>
              <a:off x="676691" y="5196087"/>
              <a:ext cx="13366" cy="29239"/>
            </a:xfrm>
            <a:custGeom>
              <a:avLst/>
              <a:gdLst>
                <a:gd name="connsiteX0" fmla="*/ 0 w 13366"/>
                <a:gd name="connsiteY0" fmla="*/ 0 h 29239"/>
                <a:gd name="connsiteX1" fmla="*/ 13367 w 13366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9239">
                  <a:moveTo>
                    <a:pt x="0" y="0"/>
                  </a:moveTo>
                  <a:lnTo>
                    <a:pt x="13367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8" name="Freeform: Shape 1577">
              <a:extLst>
                <a:ext uri="{FF2B5EF4-FFF2-40B4-BE49-F238E27FC236}">
                  <a16:creationId xmlns:a16="http://schemas.microsoft.com/office/drawing/2014/main" id="{44E00081-FD60-4544-9252-82530A815BA8}"/>
                </a:ext>
              </a:extLst>
            </p:cNvPr>
            <p:cNvSpPr/>
            <p:nvPr/>
          </p:nvSpPr>
          <p:spPr>
            <a:xfrm>
              <a:off x="1133945" y="3851336"/>
              <a:ext cx="13366" cy="29518"/>
            </a:xfrm>
            <a:custGeom>
              <a:avLst/>
              <a:gdLst>
                <a:gd name="connsiteX0" fmla="*/ 0 w 13366"/>
                <a:gd name="connsiteY0" fmla="*/ 0 h 29518"/>
                <a:gd name="connsiteX1" fmla="*/ 13367 w 1336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9518">
                  <a:moveTo>
                    <a:pt x="0" y="0"/>
                  </a:moveTo>
                  <a:lnTo>
                    <a:pt x="133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9" name="Freeform: Shape 1578">
              <a:extLst>
                <a:ext uri="{FF2B5EF4-FFF2-40B4-BE49-F238E27FC236}">
                  <a16:creationId xmlns:a16="http://schemas.microsoft.com/office/drawing/2014/main" id="{D8447154-2BBA-418C-9944-4143CBBAC613}"/>
                </a:ext>
              </a:extLst>
            </p:cNvPr>
            <p:cNvSpPr/>
            <p:nvPr/>
          </p:nvSpPr>
          <p:spPr>
            <a:xfrm>
              <a:off x="10252854" y="1373196"/>
              <a:ext cx="13366" cy="26733"/>
            </a:xfrm>
            <a:custGeom>
              <a:avLst/>
              <a:gdLst>
                <a:gd name="connsiteX0" fmla="*/ 0 w 13366"/>
                <a:gd name="connsiteY0" fmla="*/ 0 h 26733"/>
                <a:gd name="connsiteX1" fmla="*/ 13367 w 13366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6733">
                  <a:moveTo>
                    <a:pt x="0" y="0"/>
                  </a:moveTo>
                  <a:lnTo>
                    <a:pt x="13367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0" name="Freeform: Shape 1579">
              <a:extLst>
                <a:ext uri="{FF2B5EF4-FFF2-40B4-BE49-F238E27FC236}">
                  <a16:creationId xmlns:a16="http://schemas.microsoft.com/office/drawing/2014/main" id="{570875FE-A28D-472B-8099-8AE7FC2BF563}"/>
                </a:ext>
              </a:extLst>
            </p:cNvPr>
            <p:cNvSpPr/>
            <p:nvPr/>
          </p:nvSpPr>
          <p:spPr>
            <a:xfrm>
              <a:off x="906711" y="4522458"/>
              <a:ext cx="13366" cy="29239"/>
            </a:xfrm>
            <a:custGeom>
              <a:avLst/>
              <a:gdLst>
                <a:gd name="connsiteX0" fmla="*/ 0 w 13366"/>
                <a:gd name="connsiteY0" fmla="*/ 0 h 29239"/>
                <a:gd name="connsiteX1" fmla="*/ 13367 w 13366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9239">
                  <a:moveTo>
                    <a:pt x="0" y="0"/>
                  </a:moveTo>
                  <a:lnTo>
                    <a:pt x="13367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1" name="Freeform: Shape 1580">
              <a:extLst>
                <a:ext uri="{FF2B5EF4-FFF2-40B4-BE49-F238E27FC236}">
                  <a16:creationId xmlns:a16="http://schemas.microsoft.com/office/drawing/2014/main" id="{657D0BC2-2DF5-410C-BF27-DDF1074CBB3E}"/>
                </a:ext>
              </a:extLst>
            </p:cNvPr>
            <p:cNvSpPr/>
            <p:nvPr/>
          </p:nvSpPr>
          <p:spPr>
            <a:xfrm>
              <a:off x="10030910" y="1148468"/>
              <a:ext cx="8075" cy="26733"/>
            </a:xfrm>
            <a:custGeom>
              <a:avLst/>
              <a:gdLst>
                <a:gd name="connsiteX0" fmla="*/ 0 w 8075"/>
                <a:gd name="connsiteY0" fmla="*/ 0 h 26733"/>
                <a:gd name="connsiteX1" fmla="*/ 8076 w 8075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6733">
                  <a:moveTo>
                    <a:pt x="0" y="0"/>
                  </a:moveTo>
                  <a:lnTo>
                    <a:pt x="8076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2" name="Freeform: Shape 1581">
              <a:extLst>
                <a:ext uri="{FF2B5EF4-FFF2-40B4-BE49-F238E27FC236}">
                  <a16:creationId xmlns:a16="http://schemas.microsoft.com/office/drawing/2014/main" id="{DA903606-C6DF-4703-A7FB-DA0071C03574}"/>
                </a:ext>
              </a:extLst>
            </p:cNvPr>
            <p:cNvSpPr/>
            <p:nvPr/>
          </p:nvSpPr>
          <p:spPr>
            <a:xfrm>
              <a:off x="10254525" y="1148468"/>
              <a:ext cx="9468" cy="17265"/>
            </a:xfrm>
            <a:custGeom>
              <a:avLst/>
              <a:gdLst>
                <a:gd name="connsiteX0" fmla="*/ 0 w 9468"/>
                <a:gd name="connsiteY0" fmla="*/ 0 h 17265"/>
                <a:gd name="connsiteX1" fmla="*/ 9468 w 9468"/>
                <a:gd name="connsiteY1" fmla="*/ 17265 h 17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68" h="17265">
                  <a:moveTo>
                    <a:pt x="0" y="0"/>
                  </a:moveTo>
                  <a:lnTo>
                    <a:pt x="9468" y="1726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3" name="Freeform: Shape 1582">
              <a:extLst>
                <a:ext uri="{FF2B5EF4-FFF2-40B4-BE49-F238E27FC236}">
                  <a16:creationId xmlns:a16="http://schemas.microsoft.com/office/drawing/2014/main" id="{36163BA9-2053-41FB-A341-28096E2AFFD3}"/>
                </a:ext>
              </a:extLst>
            </p:cNvPr>
            <p:cNvSpPr/>
            <p:nvPr/>
          </p:nvSpPr>
          <p:spPr>
            <a:xfrm>
              <a:off x="7065998" y="477624"/>
              <a:ext cx="13366" cy="26733"/>
            </a:xfrm>
            <a:custGeom>
              <a:avLst/>
              <a:gdLst>
                <a:gd name="connsiteX0" fmla="*/ 0 w 13366"/>
                <a:gd name="connsiteY0" fmla="*/ 0 h 26733"/>
                <a:gd name="connsiteX1" fmla="*/ 13367 w 13366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6733">
                  <a:moveTo>
                    <a:pt x="0" y="0"/>
                  </a:moveTo>
                  <a:lnTo>
                    <a:pt x="13367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5" name="Freeform: Shape 1584">
              <a:extLst>
                <a:ext uri="{FF2B5EF4-FFF2-40B4-BE49-F238E27FC236}">
                  <a16:creationId xmlns:a16="http://schemas.microsoft.com/office/drawing/2014/main" id="{00935859-6395-439F-9B21-9D1D77CABE9C}"/>
                </a:ext>
              </a:extLst>
            </p:cNvPr>
            <p:cNvSpPr/>
            <p:nvPr/>
          </p:nvSpPr>
          <p:spPr>
            <a:xfrm>
              <a:off x="9113895" y="699567"/>
              <a:ext cx="13366" cy="23948"/>
            </a:xfrm>
            <a:custGeom>
              <a:avLst/>
              <a:gdLst>
                <a:gd name="connsiteX0" fmla="*/ 0 w 13366"/>
                <a:gd name="connsiteY0" fmla="*/ 0 h 23948"/>
                <a:gd name="connsiteX1" fmla="*/ 13367 w 13366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3948">
                  <a:moveTo>
                    <a:pt x="0" y="0"/>
                  </a:moveTo>
                  <a:lnTo>
                    <a:pt x="13367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6" name="Freeform: Shape 1585">
              <a:extLst>
                <a:ext uri="{FF2B5EF4-FFF2-40B4-BE49-F238E27FC236}">
                  <a16:creationId xmlns:a16="http://schemas.microsoft.com/office/drawing/2014/main" id="{3EA0D7CB-E462-43EA-8FAA-334AC262E397}"/>
                </a:ext>
              </a:extLst>
            </p:cNvPr>
            <p:cNvSpPr/>
            <p:nvPr/>
          </p:nvSpPr>
          <p:spPr>
            <a:xfrm>
              <a:off x="676691" y="4971358"/>
              <a:ext cx="10860" cy="26733"/>
            </a:xfrm>
            <a:custGeom>
              <a:avLst/>
              <a:gdLst>
                <a:gd name="connsiteX0" fmla="*/ 0 w 10860"/>
                <a:gd name="connsiteY0" fmla="*/ 0 h 26733"/>
                <a:gd name="connsiteX1" fmla="*/ 10860 w 10860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6733">
                  <a:moveTo>
                    <a:pt x="0" y="0"/>
                  </a:moveTo>
                  <a:lnTo>
                    <a:pt x="1086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7" name="Freeform: Shape 1586">
              <a:extLst>
                <a:ext uri="{FF2B5EF4-FFF2-40B4-BE49-F238E27FC236}">
                  <a16:creationId xmlns:a16="http://schemas.microsoft.com/office/drawing/2014/main" id="{C0BE6AC5-DFC3-464E-9041-EF142629BFCC}"/>
                </a:ext>
              </a:extLst>
            </p:cNvPr>
            <p:cNvSpPr/>
            <p:nvPr/>
          </p:nvSpPr>
          <p:spPr>
            <a:xfrm>
              <a:off x="676691" y="4746908"/>
              <a:ext cx="8075" cy="26733"/>
            </a:xfrm>
            <a:custGeom>
              <a:avLst/>
              <a:gdLst>
                <a:gd name="connsiteX0" fmla="*/ 0 w 8075"/>
                <a:gd name="connsiteY0" fmla="*/ 0 h 26733"/>
                <a:gd name="connsiteX1" fmla="*/ 8076 w 8075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6733">
                  <a:moveTo>
                    <a:pt x="0" y="0"/>
                  </a:moveTo>
                  <a:lnTo>
                    <a:pt x="8076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8" name="Freeform: Shape 1587">
              <a:extLst>
                <a:ext uri="{FF2B5EF4-FFF2-40B4-BE49-F238E27FC236}">
                  <a16:creationId xmlns:a16="http://schemas.microsoft.com/office/drawing/2014/main" id="{B4D6878B-F05F-43D3-B8C6-27DC9160925A}"/>
                </a:ext>
              </a:extLst>
            </p:cNvPr>
            <p:cNvSpPr/>
            <p:nvPr/>
          </p:nvSpPr>
          <p:spPr>
            <a:xfrm>
              <a:off x="9343915" y="693998"/>
              <a:ext cx="7797" cy="24227"/>
            </a:xfrm>
            <a:custGeom>
              <a:avLst/>
              <a:gdLst>
                <a:gd name="connsiteX0" fmla="*/ 0 w 7797"/>
                <a:gd name="connsiteY0" fmla="*/ 0 h 24227"/>
                <a:gd name="connsiteX1" fmla="*/ 7797 w 7797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97" h="24227">
                  <a:moveTo>
                    <a:pt x="0" y="0"/>
                  </a:moveTo>
                  <a:lnTo>
                    <a:pt x="7797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9" name="Freeform: Shape 1588">
              <a:extLst>
                <a:ext uri="{FF2B5EF4-FFF2-40B4-BE49-F238E27FC236}">
                  <a16:creationId xmlns:a16="http://schemas.microsoft.com/office/drawing/2014/main" id="{C6977646-37FA-46A7-877D-5986C460FAB9}"/>
                </a:ext>
              </a:extLst>
            </p:cNvPr>
            <p:cNvSpPr/>
            <p:nvPr/>
          </p:nvSpPr>
          <p:spPr>
            <a:xfrm>
              <a:off x="9572542" y="697897"/>
              <a:ext cx="3898" cy="16429"/>
            </a:xfrm>
            <a:custGeom>
              <a:avLst/>
              <a:gdLst>
                <a:gd name="connsiteX0" fmla="*/ 0 w 3898"/>
                <a:gd name="connsiteY0" fmla="*/ 0 h 16429"/>
                <a:gd name="connsiteX1" fmla="*/ 3898 w 3898"/>
                <a:gd name="connsiteY1" fmla="*/ 16430 h 1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98" h="16429">
                  <a:moveTo>
                    <a:pt x="0" y="0"/>
                  </a:moveTo>
                  <a:lnTo>
                    <a:pt x="3898" y="1643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0" name="Freeform: Shape 1589">
              <a:extLst>
                <a:ext uri="{FF2B5EF4-FFF2-40B4-BE49-F238E27FC236}">
                  <a16:creationId xmlns:a16="http://schemas.microsoft.com/office/drawing/2014/main" id="{E8B74D7A-98E9-4D3C-9534-4609B190CA75}"/>
                </a:ext>
              </a:extLst>
            </p:cNvPr>
            <p:cNvSpPr/>
            <p:nvPr/>
          </p:nvSpPr>
          <p:spPr>
            <a:xfrm>
              <a:off x="9799777" y="699011"/>
              <a:ext cx="3063" cy="8075"/>
            </a:xfrm>
            <a:custGeom>
              <a:avLst/>
              <a:gdLst>
                <a:gd name="connsiteX0" fmla="*/ 0 w 3063"/>
                <a:gd name="connsiteY0" fmla="*/ 0 h 8075"/>
                <a:gd name="connsiteX1" fmla="*/ 3063 w 3063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63" h="8075">
                  <a:moveTo>
                    <a:pt x="0" y="0"/>
                  </a:moveTo>
                  <a:lnTo>
                    <a:pt x="3063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1" name="Freeform: Shape 1590">
              <a:extLst>
                <a:ext uri="{FF2B5EF4-FFF2-40B4-BE49-F238E27FC236}">
                  <a16:creationId xmlns:a16="http://schemas.microsoft.com/office/drawing/2014/main" id="{244923D5-8388-4979-940F-31915A1373A9}"/>
                </a:ext>
              </a:extLst>
            </p:cNvPr>
            <p:cNvSpPr/>
            <p:nvPr/>
          </p:nvSpPr>
          <p:spPr>
            <a:xfrm>
              <a:off x="10025619" y="696504"/>
              <a:ext cx="1670" cy="5847"/>
            </a:xfrm>
            <a:custGeom>
              <a:avLst/>
              <a:gdLst>
                <a:gd name="connsiteX0" fmla="*/ 0 w 1670"/>
                <a:gd name="connsiteY0" fmla="*/ 0 h 5847"/>
                <a:gd name="connsiteX1" fmla="*/ 1671 w 1670"/>
                <a:gd name="connsiteY1" fmla="*/ 5848 h 5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70" h="5847">
                  <a:moveTo>
                    <a:pt x="0" y="0"/>
                  </a:moveTo>
                  <a:lnTo>
                    <a:pt x="1671" y="584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2" name="Freeform: Shape 1591">
              <a:extLst>
                <a:ext uri="{FF2B5EF4-FFF2-40B4-BE49-F238E27FC236}">
                  <a16:creationId xmlns:a16="http://schemas.microsoft.com/office/drawing/2014/main" id="{BA2FEC64-6929-40D3-B695-EEAC3EF7B34C}"/>
                </a:ext>
              </a:extLst>
            </p:cNvPr>
            <p:cNvSpPr/>
            <p:nvPr/>
          </p:nvSpPr>
          <p:spPr>
            <a:xfrm>
              <a:off x="906711" y="4073280"/>
              <a:ext cx="8075" cy="23948"/>
            </a:xfrm>
            <a:custGeom>
              <a:avLst/>
              <a:gdLst>
                <a:gd name="connsiteX0" fmla="*/ 0 w 8075"/>
                <a:gd name="connsiteY0" fmla="*/ 0 h 23948"/>
                <a:gd name="connsiteX1" fmla="*/ 8076 w 8075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3948">
                  <a:moveTo>
                    <a:pt x="0" y="0"/>
                  </a:moveTo>
                  <a:lnTo>
                    <a:pt x="8076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3" name="Freeform: Shape 1592">
              <a:extLst>
                <a:ext uri="{FF2B5EF4-FFF2-40B4-BE49-F238E27FC236}">
                  <a16:creationId xmlns:a16="http://schemas.microsoft.com/office/drawing/2014/main" id="{2D270AA7-B04F-4397-A96E-66227D6B3748}"/>
                </a:ext>
              </a:extLst>
            </p:cNvPr>
            <p:cNvSpPr/>
            <p:nvPr/>
          </p:nvSpPr>
          <p:spPr>
            <a:xfrm>
              <a:off x="676691" y="4522458"/>
              <a:ext cx="10860" cy="21164"/>
            </a:xfrm>
            <a:custGeom>
              <a:avLst/>
              <a:gdLst>
                <a:gd name="connsiteX0" fmla="*/ 0 w 10860"/>
                <a:gd name="connsiteY0" fmla="*/ 0 h 21164"/>
                <a:gd name="connsiteX1" fmla="*/ 10860 w 10860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1164">
                  <a:moveTo>
                    <a:pt x="0" y="0"/>
                  </a:moveTo>
                  <a:lnTo>
                    <a:pt x="10860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4" name="Freeform: Shape 1593">
              <a:extLst>
                <a:ext uri="{FF2B5EF4-FFF2-40B4-BE49-F238E27FC236}">
                  <a16:creationId xmlns:a16="http://schemas.microsoft.com/office/drawing/2014/main" id="{FA4A5728-DDC8-4263-BD86-36A6E766DF6E}"/>
                </a:ext>
              </a:extLst>
            </p:cNvPr>
            <p:cNvSpPr/>
            <p:nvPr/>
          </p:nvSpPr>
          <p:spPr>
            <a:xfrm>
              <a:off x="1133945" y="3626886"/>
              <a:ext cx="8075" cy="23948"/>
            </a:xfrm>
            <a:custGeom>
              <a:avLst/>
              <a:gdLst>
                <a:gd name="connsiteX0" fmla="*/ 0 w 8075"/>
                <a:gd name="connsiteY0" fmla="*/ 0 h 23948"/>
                <a:gd name="connsiteX1" fmla="*/ 8076 w 8075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3948">
                  <a:moveTo>
                    <a:pt x="0" y="0"/>
                  </a:moveTo>
                  <a:lnTo>
                    <a:pt x="8076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6" name="Freeform: Shape 1595">
              <a:extLst>
                <a:ext uri="{FF2B5EF4-FFF2-40B4-BE49-F238E27FC236}">
                  <a16:creationId xmlns:a16="http://schemas.microsoft.com/office/drawing/2014/main" id="{9843F603-AA4E-4447-A05B-9DEA725132F1}"/>
                </a:ext>
              </a:extLst>
            </p:cNvPr>
            <p:cNvSpPr/>
            <p:nvPr/>
          </p:nvSpPr>
          <p:spPr>
            <a:xfrm>
              <a:off x="7745196" y="474839"/>
              <a:ext cx="10582" cy="21442"/>
            </a:xfrm>
            <a:custGeom>
              <a:avLst/>
              <a:gdLst>
                <a:gd name="connsiteX0" fmla="*/ 0 w 10582"/>
                <a:gd name="connsiteY0" fmla="*/ 0 h 21442"/>
                <a:gd name="connsiteX1" fmla="*/ 10582 w 10582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21442">
                  <a:moveTo>
                    <a:pt x="0" y="0"/>
                  </a:moveTo>
                  <a:lnTo>
                    <a:pt x="10582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7" name="Freeform: Shape 1596">
              <a:extLst>
                <a:ext uri="{FF2B5EF4-FFF2-40B4-BE49-F238E27FC236}">
                  <a16:creationId xmlns:a16="http://schemas.microsoft.com/office/drawing/2014/main" id="{3870A383-344A-4EA0-B5A6-8AAF8307B5EB}"/>
                </a:ext>
              </a:extLst>
            </p:cNvPr>
            <p:cNvSpPr/>
            <p:nvPr/>
          </p:nvSpPr>
          <p:spPr>
            <a:xfrm>
              <a:off x="7517126" y="475396"/>
              <a:ext cx="10860" cy="21442"/>
            </a:xfrm>
            <a:custGeom>
              <a:avLst/>
              <a:gdLst>
                <a:gd name="connsiteX0" fmla="*/ 0 w 10860"/>
                <a:gd name="connsiteY0" fmla="*/ 0 h 21442"/>
                <a:gd name="connsiteX1" fmla="*/ 10861 w 1086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1442">
                  <a:moveTo>
                    <a:pt x="0" y="0"/>
                  </a:moveTo>
                  <a:lnTo>
                    <a:pt x="10861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8" name="Freeform: Shape 1597">
              <a:extLst>
                <a:ext uri="{FF2B5EF4-FFF2-40B4-BE49-F238E27FC236}">
                  <a16:creationId xmlns:a16="http://schemas.microsoft.com/office/drawing/2014/main" id="{364A5E91-41BE-4FB1-AA16-A5268AB70026}"/>
                </a:ext>
              </a:extLst>
            </p:cNvPr>
            <p:cNvSpPr/>
            <p:nvPr/>
          </p:nvSpPr>
          <p:spPr>
            <a:xfrm>
              <a:off x="7974937" y="469548"/>
              <a:ext cx="8075" cy="23948"/>
            </a:xfrm>
            <a:custGeom>
              <a:avLst/>
              <a:gdLst>
                <a:gd name="connsiteX0" fmla="*/ 0 w 8075"/>
                <a:gd name="connsiteY0" fmla="*/ 0 h 23948"/>
                <a:gd name="connsiteX1" fmla="*/ 8076 w 8075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3948">
                  <a:moveTo>
                    <a:pt x="0" y="0"/>
                  </a:moveTo>
                  <a:lnTo>
                    <a:pt x="8076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9" name="Freeform: Shape 1598">
              <a:extLst>
                <a:ext uri="{FF2B5EF4-FFF2-40B4-BE49-F238E27FC236}">
                  <a16:creationId xmlns:a16="http://schemas.microsoft.com/office/drawing/2014/main" id="{C7AEDA1C-FC1A-4ABC-BC8C-553989A14C7A}"/>
                </a:ext>
              </a:extLst>
            </p:cNvPr>
            <p:cNvSpPr/>
            <p:nvPr/>
          </p:nvSpPr>
          <p:spPr>
            <a:xfrm>
              <a:off x="906711" y="3399651"/>
              <a:ext cx="5291" cy="21164"/>
            </a:xfrm>
            <a:custGeom>
              <a:avLst/>
              <a:gdLst>
                <a:gd name="connsiteX0" fmla="*/ 0 w 5291"/>
                <a:gd name="connsiteY0" fmla="*/ 0 h 21164"/>
                <a:gd name="connsiteX1" fmla="*/ 5291 w 5291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21164">
                  <a:moveTo>
                    <a:pt x="0" y="0"/>
                  </a:moveTo>
                  <a:lnTo>
                    <a:pt x="5291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0" name="Freeform: Shape 1599">
              <a:extLst>
                <a:ext uri="{FF2B5EF4-FFF2-40B4-BE49-F238E27FC236}">
                  <a16:creationId xmlns:a16="http://schemas.microsoft.com/office/drawing/2014/main" id="{15D9066F-5D87-48EB-9CB4-86286E20DF71}"/>
                </a:ext>
              </a:extLst>
            </p:cNvPr>
            <p:cNvSpPr/>
            <p:nvPr/>
          </p:nvSpPr>
          <p:spPr>
            <a:xfrm>
              <a:off x="675856" y="3399651"/>
              <a:ext cx="2784" cy="10582"/>
            </a:xfrm>
            <a:custGeom>
              <a:avLst/>
              <a:gdLst>
                <a:gd name="connsiteX0" fmla="*/ 0 w 2784"/>
                <a:gd name="connsiteY0" fmla="*/ 0 h 10582"/>
                <a:gd name="connsiteX1" fmla="*/ 2785 w 2784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0582">
                  <a:moveTo>
                    <a:pt x="0" y="0"/>
                  </a:moveTo>
                  <a:lnTo>
                    <a:pt x="2785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1" name="Freeform: Shape 1600">
              <a:extLst>
                <a:ext uri="{FF2B5EF4-FFF2-40B4-BE49-F238E27FC236}">
                  <a16:creationId xmlns:a16="http://schemas.microsoft.com/office/drawing/2014/main" id="{E7606E52-820D-457E-A263-BBFBD8A3E63C}"/>
                </a:ext>
              </a:extLst>
            </p:cNvPr>
            <p:cNvSpPr/>
            <p:nvPr/>
          </p:nvSpPr>
          <p:spPr>
            <a:xfrm>
              <a:off x="676691" y="4297730"/>
              <a:ext cx="5569" cy="21442"/>
            </a:xfrm>
            <a:custGeom>
              <a:avLst/>
              <a:gdLst>
                <a:gd name="connsiteX0" fmla="*/ 0 w 5569"/>
                <a:gd name="connsiteY0" fmla="*/ 0 h 21442"/>
                <a:gd name="connsiteX1" fmla="*/ 5569 w 5569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69" h="21442">
                  <a:moveTo>
                    <a:pt x="0" y="0"/>
                  </a:moveTo>
                  <a:lnTo>
                    <a:pt x="5569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2" name="Freeform: Shape 1601">
              <a:extLst>
                <a:ext uri="{FF2B5EF4-FFF2-40B4-BE49-F238E27FC236}">
                  <a16:creationId xmlns:a16="http://schemas.microsoft.com/office/drawing/2014/main" id="{B7135F4C-B443-4E37-93A3-FA5C582D1A64}"/>
                </a:ext>
              </a:extLst>
            </p:cNvPr>
            <p:cNvSpPr/>
            <p:nvPr/>
          </p:nvSpPr>
          <p:spPr>
            <a:xfrm>
              <a:off x="446393" y="4750528"/>
              <a:ext cx="4177" cy="13645"/>
            </a:xfrm>
            <a:custGeom>
              <a:avLst/>
              <a:gdLst>
                <a:gd name="connsiteX0" fmla="*/ 0 w 4177"/>
                <a:gd name="connsiteY0" fmla="*/ 0 h 13645"/>
                <a:gd name="connsiteX1" fmla="*/ 4177 w 4177"/>
                <a:gd name="connsiteY1" fmla="*/ 13645 h 13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77" h="13645">
                  <a:moveTo>
                    <a:pt x="0" y="0"/>
                  </a:moveTo>
                  <a:lnTo>
                    <a:pt x="4177" y="1364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3" name="Freeform: Shape 1602">
              <a:extLst>
                <a:ext uri="{FF2B5EF4-FFF2-40B4-BE49-F238E27FC236}">
                  <a16:creationId xmlns:a16="http://schemas.microsoft.com/office/drawing/2014/main" id="{EF685315-E2AC-46C3-83D7-B15FAC9E7B62}"/>
                </a:ext>
              </a:extLst>
            </p:cNvPr>
            <p:cNvSpPr/>
            <p:nvPr/>
          </p:nvSpPr>
          <p:spPr>
            <a:xfrm>
              <a:off x="446393" y="4525800"/>
              <a:ext cx="5291" cy="10860"/>
            </a:xfrm>
            <a:custGeom>
              <a:avLst/>
              <a:gdLst>
                <a:gd name="connsiteX0" fmla="*/ 0 w 5291"/>
                <a:gd name="connsiteY0" fmla="*/ 0 h 10860"/>
                <a:gd name="connsiteX1" fmla="*/ 5291 w 5291"/>
                <a:gd name="connsiteY1" fmla="*/ 10861 h 1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0860">
                  <a:moveTo>
                    <a:pt x="0" y="0"/>
                  </a:moveTo>
                  <a:lnTo>
                    <a:pt x="5291" y="108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4" name="Freeform: Shape 1603">
              <a:extLst>
                <a:ext uri="{FF2B5EF4-FFF2-40B4-BE49-F238E27FC236}">
                  <a16:creationId xmlns:a16="http://schemas.microsoft.com/office/drawing/2014/main" id="{63638C0E-C596-49F4-BD13-2580CB5D1118}"/>
                </a:ext>
              </a:extLst>
            </p:cNvPr>
            <p:cNvSpPr/>
            <p:nvPr/>
          </p:nvSpPr>
          <p:spPr>
            <a:xfrm>
              <a:off x="446393" y="4301350"/>
              <a:ext cx="2784" cy="10582"/>
            </a:xfrm>
            <a:custGeom>
              <a:avLst/>
              <a:gdLst>
                <a:gd name="connsiteX0" fmla="*/ 0 w 2784"/>
                <a:gd name="connsiteY0" fmla="*/ 0 h 10582"/>
                <a:gd name="connsiteX1" fmla="*/ 2785 w 2784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0582">
                  <a:moveTo>
                    <a:pt x="0" y="0"/>
                  </a:moveTo>
                  <a:lnTo>
                    <a:pt x="2785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5" name="Freeform: Shape 1604">
              <a:extLst>
                <a:ext uri="{FF2B5EF4-FFF2-40B4-BE49-F238E27FC236}">
                  <a16:creationId xmlns:a16="http://schemas.microsoft.com/office/drawing/2014/main" id="{0E66C2F0-7241-4C1E-95CA-CCE9C042351B}"/>
                </a:ext>
              </a:extLst>
            </p:cNvPr>
            <p:cNvSpPr/>
            <p:nvPr/>
          </p:nvSpPr>
          <p:spPr>
            <a:xfrm>
              <a:off x="445836" y="5649721"/>
              <a:ext cx="10860" cy="26733"/>
            </a:xfrm>
            <a:custGeom>
              <a:avLst/>
              <a:gdLst>
                <a:gd name="connsiteX0" fmla="*/ 0 w 10860"/>
                <a:gd name="connsiteY0" fmla="*/ 0 h 26733"/>
                <a:gd name="connsiteX1" fmla="*/ 10860 w 10860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6733">
                  <a:moveTo>
                    <a:pt x="0" y="0"/>
                  </a:moveTo>
                  <a:lnTo>
                    <a:pt x="1086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6" name="Freeform: Shape 1605">
              <a:extLst>
                <a:ext uri="{FF2B5EF4-FFF2-40B4-BE49-F238E27FC236}">
                  <a16:creationId xmlns:a16="http://schemas.microsoft.com/office/drawing/2014/main" id="{C6972983-584C-4495-A6B9-8AA8A08DBA92}"/>
                </a:ext>
              </a:extLst>
            </p:cNvPr>
            <p:cNvSpPr/>
            <p:nvPr/>
          </p:nvSpPr>
          <p:spPr>
            <a:xfrm>
              <a:off x="445836" y="5424992"/>
              <a:ext cx="8075" cy="26733"/>
            </a:xfrm>
            <a:custGeom>
              <a:avLst/>
              <a:gdLst>
                <a:gd name="connsiteX0" fmla="*/ 0 w 8075"/>
                <a:gd name="connsiteY0" fmla="*/ 0 h 26733"/>
                <a:gd name="connsiteX1" fmla="*/ 8076 w 8075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6733">
                  <a:moveTo>
                    <a:pt x="0" y="0"/>
                  </a:moveTo>
                  <a:lnTo>
                    <a:pt x="8076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7" name="Freeform: Shape 1606">
              <a:extLst>
                <a:ext uri="{FF2B5EF4-FFF2-40B4-BE49-F238E27FC236}">
                  <a16:creationId xmlns:a16="http://schemas.microsoft.com/office/drawing/2014/main" id="{D204A299-1FE0-42F1-AD54-6D9AE245AC67}"/>
                </a:ext>
              </a:extLst>
            </p:cNvPr>
            <p:cNvSpPr/>
            <p:nvPr/>
          </p:nvSpPr>
          <p:spPr>
            <a:xfrm>
              <a:off x="445836" y="5200542"/>
              <a:ext cx="10860" cy="21442"/>
            </a:xfrm>
            <a:custGeom>
              <a:avLst/>
              <a:gdLst>
                <a:gd name="connsiteX0" fmla="*/ 0 w 10860"/>
                <a:gd name="connsiteY0" fmla="*/ 0 h 21442"/>
                <a:gd name="connsiteX1" fmla="*/ 10860 w 1086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1442">
                  <a:moveTo>
                    <a:pt x="0" y="0"/>
                  </a:moveTo>
                  <a:lnTo>
                    <a:pt x="10860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8" name="Freeform: Shape 1607">
              <a:extLst>
                <a:ext uri="{FF2B5EF4-FFF2-40B4-BE49-F238E27FC236}">
                  <a16:creationId xmlns:a16="http://schemas.microsoft.com/office/drawing/2014/main" id="{8F7E2C5E-4174-4D27-8827-52AED73AE52C}"/>
                </a:ext>
              </a:extLst>
            </p:cNvPr>
            <p:cNvSpPr/>
            <p:nvPr/>
          </p:nvSpPr>
          <p:spPr>
            <a:xfrm>
              <a:off x="445836" y="4976092"/>
              <a:ext cx="5569" cy="21164"/>
            </a:xfrm>
            <a:custGeom>
              <a:avLst/>
              <a:gdLst>
                <a:gd name="connsiteX0" fmla="*/ 0 w 5569"/>
                <a:gd name="connsiteY0" fmla="*/ 0 h 21164"/>
                <a:gd name="connsiteX1" fmla="*/ 5569 w 5569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69" h="21164">
                  <a:moveTo>
                    <a:pt x="0" y="0"/>
                  </a:moveTo>
                  <a:lnTo>
                    <a:pt x="5569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9" name="Freeform: Shape 1608">
              <a:extLst>
                <a:ext uri="{FF2B5EF4-FFF2-40B4-BE49-F238E27FC236}">
                  <a16:creationId xmlns:a16="http://schemas.microsoft.com/office/drawing/2014/main" id="{FA469C81-FBCC-49D3-8095-6F7FED0C0808}"/>
                </a:ext>
              </a:extLst>
            </p:cNvPr>
            <p:cNvSpPr/>
            <p:nvPr/>
          </p:nvSpPr>
          <p:spPr>
            <a:xfrm>
              <a:off x="8659426" y="469548"/>
              <a:ext cx="8075" cy="21442"/>
            </a:xfrm>
            <a:custGeom>
              <a:avLst/>
              <a:gdLst>
                <a:gd name="connsiteX0" fmla="*/ 0 w 8075"/>
                <a:gd name="connsiteY0" fmla="*/ 0 h 21442"/>
                <a:gd name="connsiteX1" fmla="*/ 8076 w 8075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1442">
                  <a:moveTo>
                    <a:pt x="0" y="0"/>
                  </a:moveTo>
                  <a:lnTo>
                    <a:pt x="8076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0" name="Freeform: Shape 1609">
              <a:extLst>
                <a:ext uri="{FF2B5EF4-FFF2-40B4-BE49-F238E27FC236}">
                  <a16:creationId xmlns:a16="http://schemas.microsoft.com/office/drawing/2014/main" id="{2D45F04E-38DD-41FC-9E70-CBAFBE4EEB27}"/>
                </a:ext>
              </a:extLst>
            </p:cNvPr>
            <p:cNvSpPr/>
            <p:nvPr/>
          </p:nvSpPr>
          <p:spPr>
            <a:xfrm>
              <a:off x="8888331" y="474282"/>
              <a:ext cx="5012" cy="16708"/>
            </a:xfrm>
            <a:custGeom>
              <a:avLst/>
              <a:gdLst>
                <a:gd name="connsiteX0" fmla="*/ 0 w 5012"/>
                <a:gd name="connsiteY0" fmla="*/ 0 h 16708"/>
                <a:gd name="connsiteX1" fmla="*/ 5013 w 5012"/>
                <a:gd name="connsiteY1" fmla="*/ 16708 h 16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12" h="16708">
                  <a:moveTo>
                    <a:pt x="0" y="0"/>
                  </a:moveTo>
                  <a:lnTo>
                    <a:pt x="5013" y="1670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1" name="Freeform: Shape 1610">
              <a:extLst>
                <a:ext uri="{FF2B5EF4-FFF2-40B4-BE49-F238E27FC236}">
                  <a16:creationId xmlns:a16="http://schemas.microsoft.com/office/drawing/2014/main" id="{753335D7-B164-43B1-B65B-41A45FF4ABA9}"/>
                </a:ext>
              </a:extLst>
            </p:cNvPr>
            <p:cNvSpPr/>
            <p:nvPr/>
          </p:nvSpPr>
          <p:spPr>
            <a:xfrm>
              <a:off x="9115566" y="475117"/>
              <a:ext cx="3341" cy="11138"/>
            </a:xfrm>
            <a:custGeom>
              <a:avLst/>
              <a:gdLst>
                <a:gd name="connsiteX0" fmla="*/ 0 w 3341"/>
                <a:gd name="connsiteY0" fmla="*/ 0 h 11138"/>
                <a:gd name="connsiteX1" fmla="*/ 3342 w 3341"/>
                <a:gd name="connsiteY1" fmla="*/ 11139 h 11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41" h="11138">
                  <a:moveTo>
                    <a:pt x="0" y="0"/>
                  </a:moveTo>
                  <a:lnTo>
                    <a:pt x="3342" y="1113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2" name="Freeform: Shape 1611">
              <a:extLst>
                <a:ext uri="{FF2B5EF4-FFF2-40B4-BE49-F238E27FC236}">
                  <a16:creationId xmlns:a16="http://schemas.microsoft.com/office/drawing/2014/main" id="{435B928C-8242-4EB1-A6F3-2722FECCBC1D}"/>
                </a:ext>
              </a:extLst>
            </p:cNvPr>
            <p:cNvSpPr/>
            <p:nvPr/>
          </p:nvSpPr>
          <p:spPr>
            <a:xfrm>
              <a:off x="906711" y="3848551"/>
              <a:ext cx="5291" cy="21442"/>
            </a:xfrm>
            <a:custGeom>
              <a:avLst/>
              <a:gdLst>
                <a:gd name="connsiteX0" fmla="*/ 0 w 5291"/>
                <a:gd name="connsiteY0" fmla="*/ 0 h 21442"/>
                <a:gd name="connsiteX1" fmla="*/ 5291 w 5291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21442">
                  <a:moveTo>
                    <a:pt x="0" y="0"/>
                  </a:moveTo>
                  <a:lnTo>
                    <a:pt x="5291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3" name="Freeform: Shape 1612">
              <a:extLst>
                <a:ext uri="{FF2B5EF4-FFF2-40B4-BE49-F238E27FC236}">
                  <a16:creationId xmlns:a16="http://schemas.microsoft.com/office/drawing/2014/main" id="{55B859C7-6538-44EC-82D8-F9ADBF20BD3B}"/>
                </a:ext>
              </a:extLst>
            </p:cNvPr>
            <p:cNvSpPr/>
            <p:nvPr/>
          </p:nvSpPr>
          <p:spPr>
            <a:xfrm>
              <a:off x="906711" y="3624101"/>
              <a:ext cx="5291" cy="16708"/>
            </a:xfrm>
            <a:custGeom>
              <a:avLst/>
              <a:gdLst>
                <a:gd name="connsiteX0" fmla="*/ 0 w 5291"/>
                <a:gd name="connsiteY0" fmla="*/ 0 h 16708"/>
                <a:gd name="connsiteX1" fmla="*/ 5291 w 5291"/>
                <a:gd name="connsiteY1" fmla="*/ 16708 h 16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708">
                  <a:moveTo>
                    <a:pt x="0" y="0"/>
                  </a:moveTo>
                  <a:lnTo>
                    <a:pt x="5291" y="1670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4" name="Freeform: Shape 1613">
              <a:extLst>
                <a:ext uri="{FF2B5EF4-FFF2-40B4-BE49-F238E27FC236}">
                  <a16:creationId xmlns:a16="http://schemas.microsoft.com/office/drawing/2014/main" id="{9A036F5A-2A9E-4CAE-83FC-E226BFD75B57}"/>
                </a:ext>
              </a:extLst>
            </p:cNvPr>
            <p:cNvSpPr/>
            <p:nvPr/>
          </p:nvSpPr>
          <p:spPr>
            <a:xfrm>
              <a:off x="674742" y="3621038"/>
              <a:ext cx="3898" cy="11974"/>
            </a:xfrm>
            <a:custGeom>
              <a:avLst/>
              <a:gdLst>
                <a:gd name="connsiteX0" fmla="*/ 0 w 3898"/>
                <a:gd name="connsiteY0" fmla="*/ 0 h 11974"/>
                <a:gd name="connsiteX1" fmla="*/ 3899 w 3898"/>
                <a:gd name="connsiteY1" fmla="*/ 11974 h 11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98" h="11974">
                  <a:moveTo>
                    <a:pt x="0" y="0"/>
                  </a:moveTo>
                  <a:lnTo>
                    <a:pt x="3899" y="119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5" name="Freeform: Shape 1614">
              <a:extLst>
                <a:ext uri="{FF2B5EF4-FFF2-40B4-BE49-F238E27FC236}">
                  <a16:creationId xmlns:a16="http://schemas.microsoft.com/office/drawing/2014/main" id="{444D034E-2054-4EF7-AF22-DD246CF7B22D}"/>
                </a:ext>
              </a:extLst>
            </p:cNvPr>
            <p:cNvSpPr/>
            <p:nvPr/>
          </p:nvSpPr>
          <p:spPr>
            <a:xfrm>
              <a:off x="447229" y="3175201"/>
              <a:ext cx="5291" cy="16708"/>
            </a:xfrm>
            <a:custGeom>
              <a:avLst/>
              <a:gdLst>
                <a:gd name="connsiteX0" fmla="*/ 0 w 5291"/>
                <a:gd name="connsiteY0" fmla="*/ 0 h 16708"/>
                <a:gd name="connsiteX1" fmla="*/ 5291 w 5291"/>
                <a:gd name="connsiteY1" fmla="*/ 16708 h 16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708">
                  <a:moveTo>
                    <a:pt x="0" y="0"/>
                  </a:moveTo>
                  <a:lnTo>
                    <a:pt x="5291" y="1670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6" name="Freeform: Shape 1615">
              <a:extLst>
                <a:ext uri="{FF2B5EF4-FFF2-40B4-BE49-F238E27FC236}">
                  <a16:creationId xmlns:a16="http://schemas.microsoft.com/office/drawing/2014/main" id="{4EA98CCC-EECD-49C5-AD1E-5C9E51878F1E}"/>
                </a:ext>
              </a:extLst>
            </p:cNvPr>
            <p:cNvSpPr/>
            <p:nvPr/>
          </p:nvSpPr>
          <p:spPr>
            <a:xfrm>
              <a:off x="10028125" y="453396"/>
              <a:ext cx="5291" cy="21442"/>
            </a:xfrm>
            <a:custGeom>
              <a:avLst/>
              <a:gdLst>
                <a:gd name="connsiteX0" fmla="*/ 5291 w 5291"/>
                <a:gd name="connsiteY0" fmla="*/ 0 h 21442"/>
                <a:gd name="connsiteX1" fmla="*/ 0 w 5291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21442">
                  <a:moveTo>
                    <a:pt x="5291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7" name="Freeform: Shape 1616">
              <a:extLst>
                <a:ext uri="{FF2B5EF4-FFF2-40B4-BE49-F238E27FC236}">
                  <a16:creationId xmlns:a16="http://schemas.microsoft.com/office/drawing/2014/main" id="{70F4536D-EEB5-4922-8E0B-5373D2B3E0CB}"/>
                </a:ext>
              </a:extLst>
            </p:cNvPr>
            <p:cNvSpPr/>
            <p:nvPr/>
          </p:nvSpPr>
          <p:spPr>
            <a:xfrm>
              <a:off x="9798384" y="461751"/>
              <a:ext cx="1949" cy="15873"/>
            </a:xfrm>
            <a:custGeom>
              <a:avLst/>
              <a:gdLst>
                <a:gd name="connsiteX0" fmla="*/ 1949 w 1949"/>
                <a:gd name="connsiteY0" fmla="*/ 0 h 15873"/>
                <a:gd name="connsiteX1" fmla="*/ 0 w 1949"/>
                <a:gd name="connsiteY1" fmla="*/ 15873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49" h="15873">
                  <a:moveTo>
                    <a:pt x="1949" y="0"/>
                  </a:moveTo>
                  <a:lnTo>
                    <a:pt x="0" y="158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8" name="Freeform: Shape 1617">
              <a:extLst>
                <a:ext uri="{FF2B5EF4-FFF2-40B4-BE49-F238E27FC236}">
                  <a16:creationId xmlns:a16="http://schemas.microsoft.com/office/drawing/2014/main" id="{DFDF1826-9B3B-4D62-95F1-F9C439177EE7}"/>
                </a:ext>
              </a:extLst>
            </p:cNvPr>
            <p:cNvSpPr/>
            <p:nvPr/>
          </p:nvSpPr>
          <p:spPr>
            <a:xfrm>
              <a:off x="10255360" y="450890"/>
              <a:ext cx="10860" cy="21442"/>
            </a:xfrm>
            <a:custGeom>
              <a:avLst/>
              <a:gdLst>
                <a:gd name="connsiteX0" fmla="*/ 10861 w 10860"/>
                <a:gd name="connsiteY0" fmla="*/ 0 h 21442"/>
                <a:gd name="connsiteX1" fmla="*/ 0 w 1086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1442">
                  <a:moveTo>
                    <a:pt x="10861" y="0"/>
                  </a:moveTo>
                  <a:lnTo>
                    <a:pt x="0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9" name="Freeform: Shape 1618">
              <a:extLst>
                <a:ext uri="{FF2B5EF4-FFF2-40B4-BE49-F238E27FC236}">
                  <a16:creationId xmlns:a16="http://schemas.microsoft.com/office/drawing/2014/main" id="{DA1CE144-2C48-47BA-B4D8-6362C5AECAD3}"/>
                </a:ext>
              </a:extLst>
            </p:cNvPr>
            <p:cNvSpPr/>
            <p:nvPr/>
          </p:nvSpPr>
          <p:spPr>
            <a:xfrm>
              <a:off x="10255638" y="687593"/>
              <a:ext cx="2784" cy="13366"/>
            </a:xfrm>
            <a:custGeom>
              <a:avLst/>
              <a:gdLst>
                <a:gd name="connsiteX0" fmla="*/ 2785 w 2784"/>
                <a:gd name="connsiteY0" fmla="*/ 0 h 13366"/>
                <a:gd name="connsiteX1" fmla="*/ 0 w 2784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3366">
                  <a:moveTo>
                    <a:pt x="2785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3" name="Freeform: Shape 1622">
              <a:extLst>
                <a:ext uri="{FF2B5EF4-FFF2-40B4-BE49-F238E27FC236}">
                  <a16:creationId xmlns:a16="http://schemas.microsoft.com/office/drawing/2014/main" id="{E7C95477-2D10-4698-A93B-3FE988F99B9B}"/>
                </a:ext>
              </a:extLst>
            </p:cNvPr>
            <p:cNvSpPr/>
            <p:nvPr/>
          </p:nvSpPr>
          <p:spPr>
            <a:xfrm>
              <a:off x="8432191" y="477624"/>
              <a:ext cx="8075" cy="18657"/>
            </a:xfrm>
            <a:custGeom>
              <a:avLst/>
              <a:gdLst>
                <a:gd name="connsiteX0" fmla="*/ 0 w 8075"/>
                <a:gd name="connsiteY0" fmla="*/ 0 h 18657"/>
                <a:gd name="connsiteX1" fmla="*/ 8075 w 8075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18657">
                  <a:moveTo>
                    <a:pt x="0" y="0"/>
                  </a:moveTo>
                  <a:lnTo>
                    <a:pt x="8075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4" name="Freeform: Shape 1623">
              <a:extLst>
                <a:ext uri="{FF2B5EF4-FFF2-40B4-BE49-F238E27FC236}">
                  <a16:creationId xmlns:a16="http://schemas.microsoft.com/office/drawing/2014/main" id="{FC9BE107-7C2D-4E32-A4C5-5452AA657237}"/>
                </a:ext>
              </a:extLst>
            </p:cNvPr>
            <p:cNvSpPr/>
            <p:nvPr/>
          </p:nvSpPr>
          <p:spPr>
            <a:xfrm>
              <a:off x="9800890" y="926802"/>
              <a:ext cx="5291" cy="18657"/>
            </a:xfrm>
            <a:custGeom>
              <a:avLst/>
              <a:gdLst>
                <a:gd name="connsiteX0" fmla="*/ 0 w 5291"/>
                <a:gd name="connsiteY0" fmla="*/ 0 h 18657"/>
                <a:gd name="connsiteX1" fmla="*/ 5291 w 5291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8657">
                  <a:moveTo>
                    <a:pt x="0" y="0"/>
                  </a:moveTo>
                  <a:lnTo>
                    <a:pt x="5291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5" name="Freeform: Shape 1624">
              <a:extLst>
                <a:ext uri="{FF2B5EF4-FFF2-40B4-BE49-F238E27FC236}">
                  <a16:creationId xmlns:a16="http://schemas.microsoft.com/office/drawing/2014/main" id="{FD8CC4DE-9910-497B-BC92-C1663E8E3622}"/>
                </a:ext>
              </a:extLst>
            </p:cNvPr>
            <p:cNvSpPr/>
            <p:nvPr/>
          </p:nvSpPr>
          <p:spPr>
            <a:xfrm>
              <a:off x="10030353" y="926802"/>
              <a:ext cx="5291" cy="18657"/>
            </a:xfrm>
            <a:custGeom>
              <a:avLst/>
              <a:gdLst>
                <a:gd name="connsiteX0" fmla="*/ 0 w 5291"/>
                <a:gd name="connsiteY0" fmla="*/ 0 h 18657"/>
                <a:gd name="connsiteX1" fmla="*/ 5291 w 5291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8657">
                  <a:moveTo>
                    <a:pt x="0" y="0"/>
                  </a:moveTo>
                  <a:lnTo>
                    <a:pt x="5291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6" name="Freeform: Shape 1625">
              <a:extLst>
                <a:ext uri="{FF2B5EF4-FFF2-40B4-BE49-F238E27FC236}">
                  <a16:creationId xmlns:a16="http://schemas.microsoft.com/office/drawing/2014/main" id="{B491CB0E-FE65-4940-8E01-B2E89CDBD74C}"/>
                </a:ext>
              </a:extLst>
            </p:cNvPr>
            <p:cNvSpPr/>
            <p:nvPr/>
          </p:nvSpPr>
          <p:spPr>
            <a:xfrm>
              <a:off x="10256474" y="924296"/>
              <a:ext cx="3063" cy="12531"/>
            </a:xfrm>
            <a:custGeom>
              <a:avLst/>
              <a:gdLst>
                <a:gd name="connsiteX0" fmla="*/ 0 w 3063"/>
                <a:gd name="connsiteY0" fmla="*/ 0 h 12531"/>
                <a:gd name="connsiteX1" fmla="*/ 3063 w 3063"/>
                <a:gd name="connsiteY1" fmla="*/ 12531 h 12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63" h="12531">
                  <a:moveTo>
                    <a:pt x="0" y="0"/>
                  </a:moveTo>
                  <a:lnTo>
                    <a:pt x="3063" y="125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7" name="Freeform: Shape 1626">
              <a:extLst>
                <a:ext uri="{FF2B5EF4-FFF2-40B4-BE49-F238E27FC236}">
                  <a16:creationId xmlns:a16="http://schemas.microsoft.com/office/drawing/2014/main" id="{CEAE343E-A317-4703-9427-178B89329D08}"/>
                </a:ext>
              </a:extLst>
            </p:cNvPr>
            <p:cNvSpPr/>
            <p:nvPr/>
          </p:nvSpPr>
          <p:spPr>
            <a:xfrm>
              <a:off x="676691" y="3848551"/>
              <a:ext cx="5569" cy="5569"/>
            </a:xfrm>
            <a:custGeom>
              <a:avLst/>
              <a:gdLst>
                <a:gd name="connsiteX0" fmla="*/ 0 w 5569"/>
                <a:gd name="connsiteY0" fmla="*/ 0 h 5569"/>
                <a:gd name="connsiteX1" fmla="*/ 5569 w 5569"/>
                <a:gd name="connsiteY1" fmla="*/ 557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69" h="5569">
                  <a:moveTo>
                    <a:pt x="0" y="0"/>
                  </a:moveTo>
                  <a:lnTo>
                    <a:pt x="5569" y="55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8" name="Freeform: Shape 1627">
              <a:extLst>
                <a:ext uri="{FF2B5EF4-FFF2-40B4-BE49-F238E27FC236}">
                  <a16:creationId xmlns:a16="http://schemas.microsoft.com/office/drawing/2014/main" id="{2224017C-EF40-4A26-8A4F-FD53C98906E1}"/>
                </a:ext>
              </a:extLst>
            </p:cNvPr>
            <p:cNvSpPr/>
            <p:nvPr/>
          </p:nvSpPr>
          <p:spPr>
            <a:xfrm>
              <a:off x="446393" y="4071887"/>
              <a:ext cx="5291" cy="5291"/>
            </a:xfrm>
            <a:custGeom>
              <a:avLst/>
              <a:gdLst>
                <a:gd name="connsiteX0" fmla="*/ 0 w 5291"/>
                <a:gd name="connsiteY0" fmla="*/ 0 h 5291"/>
                <a:gd name="connsiteX1" fmla="*/ 5291 w 5291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291">
                  <a:moveTo>
                    <a:pt x="0" y="0"/>
                  </a:moveTo>
                  <a:lnTo>
                    <a:pt x="5291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9" name="Freeform: Shape 1628">
              <a:extLst>
                <a:ext uri="{FF2B5EF4-FFF2-40B4-BE49-F238E27FC236}">
                  <a16:creationId xmlns:a16="http://schemas.microsoft.com/office/drawing/2014/main" id="{87B056F9-7583-4BEC-A666-7E3F09A5494F}"/>
                </a:ext>
              </a:extLst>
            </p:cNvPr>
            <p:cNvSpPr/>
            <p:nvPr/>
          </p:nvSpPr>
          <p:spPr>
            <a:xfrm>
              <a:off x="446115" y="3848551"/>
              <a:ext cx="5291" cy="5569"/>
            </a:xfrm>
            <a:custGeom>
              <a:avLst/>
              <a:gdLst>
                <a:gd name="connsiteX0" fmla="*/ 0 w 5291"/>
                <a:gd name="connsiteY0" fmla="*/ 0 h 5569"/>
                <a:gd name="connsiteX1" fmla="*/ 5291 w 5291"/>
                <a:gd name="connsiteY1" fmla="*/ 557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569">
                  <a:moveTo>
                    <a:pt x="0" y="0"/>
                  </a:moveTo>
                  <a:lnTo>
                    <a:pt x="5291" y="55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30" name="Freeform: Shape 1629">
              <a:extLst>
                <a:ext uri="{FF2B5EF4-FFF2-40B4-BE49-F238E27FC236}">
                  <a16:creationId xmlns:a16="http://schemas.microsoft.com/office/drawing/2014/main" id="{471357D3-2763-4CA5-BD1F-10F1E1814D33}"/>
                </a:ext>
              </a:extLst>
            </p:cNvPr>
            <p:cNvSpPr/>
            <p:nvPr/>
          </p:nvSpPr>
          <p:spPr>
            <a:xfrm>
              <a:off x="446115" y="3616304"/>
              <a:ext cx="5291" cy="5291"/>
            </a:xfrm>
            <a:custGeom>
              <a:avLst/>
              <a:gdLst>
                <a:gd name="connsiteX0" fmla="*/ 0 w 5291"/>
                <a:gd name="connsiteY0" fmla="*/ 0 h 5291"/>
                <a:gd name="connsiteX1" fmla="*/ 5291 w 5291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291">
                  <a:moveTo>
                    <a:pt x="0" y="0"/>
                  </a:moveTo>
                  <a:lnTo>
                    <a:pt x="5291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31" name="Freeform: Shape 1630">
              <a:extLst>
                <a:ext uri="{FF2B5EF4-FFF2-40B4-BE49-F238E27FC236}">
                  <a16:creationId xmlns:a16="http://schemas.microsoft.com/office/drawing/2014/main" id="{4289926E-DE6F-4DDB-AABD-B51A211E2608}"/>
                </a:ext>
              </a:extLst>
            </p:cNvPr>
            <p:cNvSpPr/>
            <p:nvPr/>
          </p:nvSpPr>
          <p:spPr>
            <a:xfrm>
              <a:off x="446115" y="3396588"/>
              <a:ext cx="5291" cy="5291"/>
            </a:xfrm>
            <a:custGeom>
              <a:avLst/>
              <a:gdLst>
                <a:gd name="connsiteX0" fmla="*/ 0 w 5291"/>
                <a:gd name="connsiteY0" fmla="*/ 0 h 5291"/>
                <a:gd name="connsiteX1" fmla="*/ 5291 w 5291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291">
                  <a:moveTo>
                    <a:pt x="0" y="0"/>
                  </a:moveTo>
                  <a:lnTo>
                    <a:pt x="5291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39" name="Freeform: Shape 1638">
              <a:extLst>
                <a:ext uri="{FF2B5EF4-FFF2-40B4-BE49-F238E27FC236}">
                  <a16:creationId xmlns:a16="http://schemas.microsoft.com/office/drawing/2014/main" id="{C54A8033-787D-4816-A1EE-05BD9EB9B9A8}"/>
                </a:ext>
              </a:extLst>
            </p:cNvPr>
            <p:cNvSpPr/>
            <p:nvPr/>
          </p:nvSpPr>
          <p:spPr>
            <a:xfrm>
              <a:off x="9343915" y="474839"/>
              <a:ext cx="5291" cy="5291"/>
            </a:xfrm>
            <a:custGeom>
              <a:avLst/>
              <a:gdLst>
                <a:gd name="connsiteX0" fmla="*/ 5291 w 5291"/>
                <a:gd name="connsiteY0" fmla="*/ 0 h 5291"/>
                <a:gd name="connsiteX1" fmla="*/ 0 w 5291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291">
                  <a:moveTo>
                    <a:pt x="5291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40" name="Freeform: Shape 1639">
              <a:extLst>
                <a:ext uri="{FF2B5EF4-FFF2-40B4-BE49-F238E27FC236}">
                  <a16:creationId xmlns:a16="http://schemas.microsoft.com/office/drawing/2014/main" id="{D85FF89C-385D-48B2-AA06-E6B1469103A3}"/>
                </a:ext>
              </a:extLst>
            </p:cNvPr>
            <p:cNvSpPr/>
            <p:nvPr/>
          </p:nvSpPr>
          <p:spPr>
            <a:xfrm>
              <a:off x="9568922" y="472054"/>
              <a:ext cx="5569" cy="5291"/>
            </a:xfrm>
            <a:custGeom>
              <a:avLst/>
              <a:gdLst>
                <a:gd name="connsiteX0" fmla="*/ 5569 w 5569"/>
                <a:gd name="connsiteY0" fmla="*/ 0 h 5291"/>
                <a:gd name="connsiteX1" fmla="*/ 0 w 5569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69" h="5291">
                  <a:moveTo>
                    <a:pt x="5569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43" name="Freeform: Shape 1642">
              <a:extLst>
                <a:ext uri="{FF2B5EF4-FFF2-40B4-BE49-F238E27FC236}">
                  <a16:creationId xmlns:a16="http://schemas.microsoft.com/office/drawing/2014/main" id="{9E755024-FD2F-45D3-85EE-3097C9F1E538}"/>
                </a:ext>
              </a:extLst>
            </p:cNvPr>
            <p:cNvSpPr/>
            <p:nvPr/>
          </p:nvSpPr>
          <p:spPr>
            <a:xfrm>
              <a:off x="675856" y="4073280"/>
              <a:ext cx="5847" cy="13088"/>
            </a:xfrm>
            <a:custGeom>
              <a:avLst/>
              <a:gdLst>
                <a:gd name="connsiteX0" fmla="*/ 0 w 5847"/>
                <a:gd name="connsiteY0" fmla="*/ 0 h 13088"/>
                <a:gd name="connsiteX1" fmla="*/ 5848 w 5847"/>
                <a:gd name="connsiteY1" fmla="*/ 13088 h 13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47" h="13088">
                  <a:moveTo>
                    <a:pt x="0" y="0"/>
                  </a:moveTo>
                  <a:lnTo>
                    <a:pt x="5848" y="1308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</p:grpSp>
    </p:spTree>
    <p:extLst>
      <p:ext uri="{BB962C8B-B14F-4D97-AF65-F5344CB8AC3E}">
        <p14:creationId xmlns:p14="http://schemas.microsoft.com/office/powerpoint/2010/main" val="40765426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382">
          <p15:clr>
            <a:srgbClr val="FBAE40"/>
          </p15:clr>
        </p15:guide>
        <p15:guide id="2" orient="horz" pos="4153">
          <p15:clr>
            <a:srgbClr val="FBAE40"/>
          </p15:clr>
        </p15:guide>
        <p15:guide id="3" pos="336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3column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3987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62BF43F0-1D2B-4BBD-8CDA-AE969353FC7F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9 Octo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2520704"/>
            <a:ext cx="9901324" cy="3960000"/>
          </a:xfrm>
        </p:spPr>
        <p:txBody>
          <a:bodyPr numCol="3" spcCol="216000">
            <a:normAutofit/>
          </a:bodyPr>
          <a:lstStyle>
            <a:lvl1pPr>
              <a:lnSpc>
                <a:spcPct val="100000"/>
              </a:lnSpc>
              <a:defRPr sz="12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2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189623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Large text bulli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5708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661227DB-12E5-4166-8092-17BA0B0B6AC7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9 Octo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2" y="2520704"/>
            <a:ext cx="6099928" cy="3960000"/>
          </a:xfrm>
        </p:spPr>
        <p:txBody>
          <a:bodyPr numCol="1" spcCol="216000"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400">
                <a:solidFill>
                  <a:schemeClr val="tx1"/>
                </a:solidFill>
              </a:defRPr>
            </a:lvl1pPr>
            <a:lvl2pPr marL="288000">
              <a:lnSpc>
                <a:spcPct val="100000"/>
              </a:lnSpc>
              <a:spcBef>
                <a:spcPts val="1200"/>
              </a:spcBef>
              <a:buFont typeface="Roboto" panose="02000000000000000000" pitchFamily="2" charset="0"/>
              <a:buChar char="—"/>
              <a:defRPr sz="1400">
                <a:solidFill>
                  <a:schemeClr val="tx1"/>
                </a:solidFill>
              </a:defRPr>
            </a:lvl2pPr>
            <a:lvl3pPr marL="468000">
              <a:lnSpc>
                <a:spcPct val="100000"/>
              </a:lnSpc>
              <a:spcBef>
                <a:spcPts val="1200"/>
              </a:spcBef>
              <a:buFont typeface="Roboto" panose="02000000000000000000" pitchFamily="2" charset="0"/>
              <a:buChar char="—"/>
              <a:defRPr sz="1400">
                <a:solidFill>
                  <a:schemeClr val="tx1"/>
                </a:solidFill>
              </a:defRPr>
            </a:lvl3pPr>
            <a:lvl4pPr marL="658800">
              <a:lnSpc>
                <a:spcPct val="100000"/>
              </a:lnSpc>
              <a:spcBef>
                <a:spcPts val="1200"/>
              </a:spcBef>
              <a:buFont typeface="Roboto" panose="02000000000000000000" pitchFamily="2" charset="0"/>
              <a:buChar char="—"/>
              <a:defRPr sz="1400">
                <a:solidFill>
                  <a:schemeClr val="tx1"/>
                </a:solidFill>
              </a:defRPr>
            </a:lvl4pPr>
            <a:lvl5pPr marL="756000">
              <a:lnSpc>
                <a:spcPct val="100000"/>
              </a:lnSpc>
              <a:spcBef>
                <a:spcPts val="1200"/>
              </a:spcBef>
              <a:buFont typeface="Roboto" panose="02000000000000000000" pitchFamily="2" charset="0"/>
              <a:buChar char="—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665224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7633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1048163"/>
            <a:ext cx="6375461" cy="225725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ts val="5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18653441-488B-4F21-86DD-7AD291EF30A4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9 Octo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5588151"/>
            <a:ext cx="2733844" cy="892552"/>
          </a:xfrm>
        </p:spPr>
        <p:txBody>
          <a:bodyPr wrap="square" anchor="b" anchorCtr="0">
            <a:spAutoFit/>
          </a:bodyPr>
          <a:lstStyle>
            <a:lvl1pPr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924703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5583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6" y="1048162"/>
            <a:ext cx="4791420" cy="41036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lnSpc>
                <a:spcPts val="32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35A95BF0-9521-42B8-B73D-B370EEB3B31F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9 Octo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5747425"/>
            <a:ext cx="2733844" cy="733278"/>
          </a:xfrm>
        </p:spPr>
        <p:txBody>
          <a:bodyPr wrap="square" anchor="b" anchorCtr="0">
            <a:spAutoFit/>
          </a:bodyPr>
          <a:lstStyle>
            <a:lvl1pPr>
              <a:lnSpc>
                <a:spcPct val="100000"/>
              </a:lnSpc>
              <a:defRPr sz="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8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8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46793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07E4892E-1001-44CD-8E7C-85F438B81B02}"/>
              </a:ext>
            </a:extLst>
          </p:cNvPr>
          <p:cNvSpPr txBox="1"/>
          <p:nvPr userDrawn="1"/>
        </p:nvSpPr>
        <p:spPr>
          <a:xfrm>
            <a:off x="396575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4E378F9-3862-4074-880B-8E35CA0C2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0807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4E378F9-3862-4074-880B-8E35CA0C2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8E52642-78DA-4394-A667-0EB27B9C48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44E8984-2D54-4CB2-ADA5-9585066C1CAA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B8B81B5-B21E-45B7-8A67-C65479A79B22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39" name="Title 38">
            <a:extLst>
              <a:ext uri="{FF2B5EF4-FFF2-40B4-BE49-F238E27FC236}">
                <a16:creationId xmlns:a16="http://schemas.microsoft.com/office/drawing/2014/main" id="{0FDE30B5-E0AC-419A-97D6-BF60C9E102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02" y="976273"/>
            <a:ext cx="9901323" cy="36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F05E82F-1D07-4104-9CF4-C6B56ECF4F18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1305E9F6-422D-4D86-9A17-39C459438E13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9 Octo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BFBEECE-794B-4295-954D-CCC304EEA78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5288" y="2513013"/>
            <a:ext cx="9908134" cy="3960000"/>
          </a:xfrm>
        </p:spPr>
        <p:txBody>
          <a:bodyPr numCol="3" spcCol="216000"/>
          <a:lstStyle>
            <a:lvl1pPr>
              <a:lnSpc>
                <a:spcPct val="100000"/>
              </a:lnSpc>
              <a:spcBef>
                <a:spcPts val="0"/>
              </a:spcBef>
              <a:defRPr sz="750"/>
            </a:lvl1pPr>
            <a:lvl2pPr>
              <a:lnSpc>
                <a:spcPct val="100000"/>
              </a:lnSpc>
              <a:spcBef>
                <a:spcPts val="0"/>
              </a:spcBef>
              <a:defRPr sz="750"/>
            </a:lvl2pPr>
            <a:lvl3pPr>
              <a:lnSpc>
                <a:spcPct val="100000"/>
              </a:lnSpc>
              <a:spcBef>
                <a:spcPts val="0"/>
              </a:spcBef>
              <a:defRPr sz="750"/>
            </a:lvl3pPr>
            <a:lvl4pPr>
              <a:lnSpc>
                <a:spcPct val="100000"/>
              </a:lnSpc>
              <a:spcBef>
                <a:spcPts val="0"/>
              </a:spcBef>
              <a:defRPr sz="750"/>
            </a:lvl4pPr>
            <a:lvl5pPr>
              <a:lnSpc>
                <a:spcPct val="100000"/>
              </a:lnSpc>
              <a:spcBef>
                <a:spcPts val="0"/>
              </a:spcBef>
              <a:defRPr sz="7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14" name="Text Placeholder 26">
            <a:extLst>
              <a:ext uri="{FF2B5EF4-FFF2-40B4-BE49-F238E27FC236}">
                <a16:creationId xmlns:a16="http://schemas.microsoft.com/office/drawing/2014/main" id="{CF637E26-3FAE-4D23-A526-FC43EDE781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</p:spTree>
    <p:extLst>
      <p:ext uri="{BB962C8B-B14F-4D97-AF65-F5344CB8AC3E}">
        <p14:creationId xmlns:p14="http://schemas.microsoft.com/office/powerpoint/2010/main" val="18622785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24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07E4892E-1001-44CD-8E7C-85F438B81B02}"/>
              </a:ext>
            </a:extLst>
          </p:cNvPr>
          <p:cNvSpPr txBox="1"/>
          <p:nvPr userDrawn="1"/>
        </p:nvSpPr>
        <p:spPr>
          <a:xfrm>
            <a:off x="396575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4E378F9-3862-4074-880B-8E35CA0C2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27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4E378F9-3862-4074-880B-8E35CA0C2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8E52642-78DA-4394-A667-0EB27B9C48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44E8984-2D54-4CB2-ADA5-9585066C1CAA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B8B81B5-B21E-45B7-8A67-C65479A79B22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39" name="Title 38">
            <a:extLst>
              <a:ext uri="{FF2B5EF4-FFF2-40B4-BE49-F238E27FC236}">
                <a16:creationId xmlns:a16="http://schemas.microsoft.com/office/drawing/2014/main" id="{0FDE30B5-E0AC-419A-97D6-BF60C9E102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02" y="976273"/>
            <a:ext cx="9901323" cy="36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F05E82F-1D07-4104-9CF4-C6B56ECF4F18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7D18975A-9FC7-4EF9-956A-038F4AA86552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9 Octo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0C9C92E-E7EF-4EA7-8641-C122F9D4AC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1388" y="2037475"/>
            <a:ext cx="9391487" cy="1710212"/>
          </a:xfrm>
        </p:spPr>
        <p:txBody>
          <a:bodyPr>
            <a:spAutoFit/>
          </a:bodyPr>
          <a:lstStyle>
            <a:lvl1pPr>
              <a:lnSpc>
                <a:spcPts val="2400"/>
              </a:lnSpc>
              <a:defRPr sz="1600"/>
            </a:lvl1pPr>
            <a:lvl2pPr>
              <a:lnSpc>
                <a:spcPts val="2400"/>
              </a:lnSpc>
              <a:defRPr sz="1600"/>
            </a:lvl2pPr>
            <a:lvl3pPr>
              <a:lnSpc>
                <a:spcPts val="2400"/>
              </a:lnSpc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3A92360B-6087-4645-9983-07AF88F92A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3225" y="2037475"/>
            <a:ext cx="468562" cy="16482782"/>
          </a:xfrm>
        </p:spPr>
        <p:txBody>
          <a:bodyPr>
            <a:spAutoFit/>
          </a:bodyPr>
          <a:lstStyle>
            <a:lvl1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  <a:lvl2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2pPr>
            <a:lvl3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3pPr>
            <a:lvl4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4pPr>
            <a:lvl5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17" name="Text Placeholder 26">
            <a:extLst>
              <a:ext uri="{FF2B5EF4-FFF2-40B4-BE49-F238E27FC236}">
                <a16:creationId xmlns:a16="http://schemas.microsoft.com/office/drawing/2014/main" id="{ACE9D98D-2585-4D98-AA7C-B52EE9E0B7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</p:spTree>
    <p:extLst>
      <p:ext uri="{BB962C8B-B14F-4D97-AF65-F5344CB8AC3E}">
        <p14:creationId xmlns:p14="http://schemas.microsoft.com/office/powerpoint/2010/main" val="5888062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24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782248-725E-44A4-981A-6C845D9445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6081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782248-725E-44A4-981A-6C845D9445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3A807B-9C0F-4582-AA5C-F92C4AE46F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6D54865A-4BE0-41BA-B031-06F0F18A9EE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E6AC057F-2BC4-4F9A-BF70-83C3AABE68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2CC7A4C-6450-45F1-A3BB-CD5FC07A34C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8087465-877B-4F37-B2F0-8165BE150246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C2B2228-9EFA-4C62-B171-95312EBA2F0F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4" name="Text Placeholder 26">
            <a:extLst>
              <a:ext uri="{FF2B5EF4-FFF2-40B4-BE49-F238E27FC236}">
                <a16:creationId xmlns:a16="http://schemas.microsoft.com/office/drawing/2014/main" id="{C8FB3CD2-7E92-4B67-B4C5-D8A1CA0D76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8A9D59-4BA8-47DB-ABAA-A717DDE1A0AB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FE5942E4-F6F0-4E1C-A153-7EF37CA7AC0B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9 Octo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54748FE7-25D3-4FA5-AAD4-1883DA845D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7675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16 December 2020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2520704"/>
            <a:ext cx="9901324" cy="396000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2519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16 December 2020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2520704"/>
            <a:ext cx="9901324" cy="396000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D1B58991-5F6E-4FFA-8887-D61CAA1E37C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200" y="2080198"/>
            <a:ext cx="48600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1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4747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395200" y="2080198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DD2851D-358A-4811-8121-C8ABBDE168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09C5CF1A-16D8-48E6-ACB1-9EEB0237D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44E7440-2D20-4AD5-BE83-F414AF22AD6E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F4FB240-3ED5-4010-87F6-9604A93BFDC9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3F089FB-5415-4BB7-9108-9E18D54707F3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C11D594-9539-4AC2-9A40-01919B3A2964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E8C38A0E-DFD8-4288-A9B4-92AFA73BF46E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9 Octo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C58C9AD3-CBB8-45D2-8E23-2859EFECE5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63D62E1-88DC-474B-A40D-65E59427046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03225" y="2513013"/>
            <a:ext cx="3178800" cy="3960000"/>
          </a:xfrm>
        </p:spPr>
        <p:txBody>
          <a:bodyPr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F9099423-2EE9-4D29-B06D-C06AA1BCFA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55898" y="2079432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F1296009-DC5E-411A-B1AC-452C3716F1D4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763923" y="2512247"/>
            <a:ext cx="3178800" cy="3960000"/>
          </a:xfrm>
        </p:spPr>
        <p:txBody>
          <a:bodyPr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33D530F9-B133-4AC0-B8B0-31FE05968B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24622" y="2079432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8" name="Content Placeholder 5">
            <a:extLst>
              <a:ext uri="{FF2B5EF4-FFF2-40B4-BE49-F238E27FC236}">
                <a16:creationId xmlns:a16="http://schemas.microsoft.com/office/drawing/2014/main" id="{2C9918E3-DE40-4C68-ACF1-67736D91190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132647" y="2512247"/>
            <a:ext cx="3178800" cy="3960000"/>
          </a:xfrm>
        </p:spPr>
        <p:txBody>
          <a:bodyPr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8A4F8A66-EEFB-440A-B256-4F7D99DBCFE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</p:spTree>
    <p:extLst>
      <p:ext uri="{BB962C8B-B14F-4D97-AF65-F5344CB8AC3E}">
        <p14:creationId xmlns:p14="http://schemas.microsoft.com/office/powerpoint/2010/main" val="2186739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hree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395200" y="2080198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DD2851D-358A-4811-8121-C8ABBDE168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09C5CF1A-16D8-48E6-ACB1-9EEB0237D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44E7440-2D20-4AD5-BE83-F414AF22AD6E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F4FB240-3ED5-4010-87F6-9604A93BFDC9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3F089FB-5415-4BB7-9108-9E18D54707F3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C11D594-9539-4AC2-9A40-01919B3A2964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D9856FFC-AB6E-4569-AF1D-45ABF39D74C6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9 Octo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C58C9AD3-CBB8-45D2-8E23-2859EFECE5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63D62E1-88DC-474B-A40D-65E59427046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03225" y="2513013"/>
            <a:ext cx="3178800" cy="3960000"/>
          </a:xfrm>
        </p:spPr>
        <p:txBody>
          <a:bodyPr/>
          <a:lstStyle>
            <a:lvl1pPr marL="284400" indent="-284400"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F9099423-2EE9-4D29-B06D-C06AA1BCFA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55898" y="2079432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F1296009-DC5E-411A-B1AC-452C3716F1D4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763923" y="2512247"/>
            <a:ext cx="3178800" cy="3960000"/>
          </a:xfrm>
        </p:spPr>
        <p:txBody>
          <a:bodyPr/>
          <a:lstStyle>
            <a:lvl1pPr marL="284400" indent="-284400"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33D530F9-B133-4AC0-B8B0-31FE05968B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24622" y="2079432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8" name="Content Placeholder 5">
            <a:extLst>
              <a:ext uri="{FF2B5EF4-FFF2-40B4-BE49-F238E27FC236}">
                <a16:creationId xmlns:a16="http://schemas.microsoft.com/office/drawing/2014/main" id="{2C9918E3-DE40-4C68-ACF1-67736D91190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132647" y="2512247"/>
            <a:ext cx="3178800" cy="3960000"/>
          </a:xfrm>
        </p:spPr>
        <p:txBody>
          <a:bodyPr/>
          <a:lstStyle>
            <a:lvl1pPr marL="284400" indent="-284400"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8A4F8A66-EEFB-440A-B256-4F7D99DBCFE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</p:spTree>
    <p:extLst>
      <p:ext uri="{BB962C8B-B14F-4D97-AF65-F5344CB8AC3E}">
        <p14:creationId xmlns:p14="http://schemas.microsoft.com/office/powerpoint/2010/main" val="10279087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49321A-433C-40D3-B732-F3A61D0B67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767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49321A-433C-40D3-B732-F3A61D0B67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9F0FCA-A1A8-4E7A-881B-47DA04B20B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6000" y="2100165"/>
            <a:ext cx="4860000" cy="19800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90422" indent="-190422">
              <a:lnSpc>
                <a:spcPct val="100000"/>
              </a:lnSpc>
              <a:buFontTx/>
              <a:buNone/>
              <a:defRPr sz="1000">
                <a:solidFill>
                  <a:schemeClr val="tx1"/>
                </a:solidFill>
              </a:defRPr>
            </a:lvl1pPr>
            <a:lvl2pPr marL="37392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 marL="564342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 marL="74784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 marL="938263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0233" y="2100165"/>
            <a:ext cx="4860000" cy="19800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90422" indent="-190422"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  <a:lvl2pPr marL="37392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 marL="564342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 marL="74784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 marL="938263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5"/>
          </p:nvPr>
        </p:nvSpPr>
        <p:spPr>
          <a:xfrm>
            <a:off x="396000" y="4572701"/>
            <a:ext cx="4860000" cy="19800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90422" indent="-190422"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  <a:lvl2pPr marL="37392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 marL="564342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 marL="74784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 marL="938263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16"/>
          </p:nvPr>
        </p:nvSpPr>
        <p:spPr>
          <a:xfrm>
            <a:off x="5440233" y="4572701"/>
            <a:ext cx="4860000" cy="19800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90422" indent="-190422"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  <a:lvl2pPr marL="37392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 marL="564342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 marL="74784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 marL="938263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Content Placeholder 12"/>
          <p:cNvSpPr>
            <a:spLocks noGrp="1"/>
          </p:cNvSpPr>
          <p:nvPr>
            <p:ph sz="quarter" idx="19" hasCustomPrompt="1"/>
          </p:nvPr>
        </p:nvSpPr>
        <p:spPr>
          <a:xfrm>
            <a:off x="396000" y="4244021"/>
            <a:ext cx="4860000" cy="302451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1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16" name="Content Placeholder 12"/>
          <p:cNvSpPr>
            <a:spLocks noGrp="1"/>
          </p:cNvSpPr>
          <p:nvPr>
            <p:ph sz="quarter" idx="20" hasCustomPrompt="1"/>
          </p:nvPr>
        </p:nvSpPr>
        <p:spPr>
          <a:xfrm>
            <a:off x="5440233" y="4244021"/>
            <a:ext cx="4860000" cy="302451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1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7" hasCustomPrompt="1"/>
          </p:nvPr>
        </p:nvSpPr>
        <p:spPr>
          <a:xfrm>
            <a:off x="396000" y="1760980"/>
            <a:ext cx="4860000" cy="302451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marL="0" algn="l">
              <a:defRPr lang="en-GB" sz="1100" b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ACCEA8CD-DAE9-4093-A46E-B761B87552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610249"/>
            <a:ext cx="9900000" cy="302452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B05FF0FD-403D-4DB7-B062-AD881B2EA5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61C4368-DE6C-4FAB-867A-A6261EA78FED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DED758A-1C91-4EC6-95B0-AD6A54A9F1CE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EA8D454-85B2-4D08-A6CD-87F0177C5B27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5" name="Text Placeholder 26">
            <a:extLst>
              <a:ext uri="{FF2B5EF4-FFF2-40B4-BE49-F238E27FC236}">
                <a16:creationId xmlns:a16="http://schemas.microsoft.com/office/drawing/2014/main" id="{752F9C23-7AF3-4F7E-889D-B58FE9EEFC8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7CC3160-E68E-4FE1-B16B-3D5023A1442E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04748005-AF2C-4176-BAD5-E89123EE5600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9 Octo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7" name="Content Placeholder 12">
            <a:extLst>
              <a:ext uri="{FF2B5EF4-FFF2-40B4-BE49-F238E27FC236}">
                <a16:creationId xmlns:a16="http://schemas.microsoft.com/office/drawing/2014/main" id="{D7F4CB3A-DA46-4DA4-B6DA-28773C1DA239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5444344" y="1766220"/>
            <a:ext cx="4860000" cy="302451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100" b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8F21014E-E39D-425F-91BE-A920D6CC6A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86581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0D6DF2-F87D-430C-8ABC-AFC613ED4C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879878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84" imgH="385" progId="TCLayout.ActiveDocument.1">
                  <p:embed/>
                </p:oleObj>
              </mc:Choice>
              <mc:Fallback>
                <p:oleObj name="think-cell Slide" r:id="rId18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0D6DF2-F87D-430C-8ABC-AFC613ED4C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8490F1A-2CBE-4ED4-8510-10798BB48EBF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5202" y="976273"/>
            <a:ext cx="9901323" cy="35457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7" name="GS Doctop Placeholder" hidden="1"/>
          <p:cNvSpPr txBox="1"/>
          <p:nvPr userDrawn="1"/>
        </p:nvSpPr>
        <p:spPr>
          <a:xfrm>
            <a:off x="3898899" y="60493"/>
            <a:ext cx="6228401" cy="316129"/>
          </a:xfrm>
          <a:prstGeom prst="rect">
            <a:avLst/>
          </a:prstGeom>
          <a:noFill/>
        </p:spPr>
        <p:txBody>
          <a:bodyPr vert="horz" wrap="square" lIns="0" tIns="49856" rIns="0" bIns="49856" rtlCol="0">
            <a:spAutoFit/>
          </a:bodyPr>
          <a:lstStyle/>
          <a:p>
            <a:pPr algn="r"/>
            <a:r>
              <a:rPr lang="en-GB" sz="700" b="0">
                <a:solidFill>
                  <a:schemeClr val="bg1"/>
                </a:solidFill>
                <a:effectLst/>
                <a:latin typeface="Arial"/>
              </a:rPr>
              <a:t>ibdroot\projects\IBD-LN\CDSalesStrategies\592551_1\Deals\Capital Four\Marketing Materials\Marketing Book\New Template\Capital Four - European CLO I_April_new template v.2.pptx</a:t>
            </a:r>
            <a:endParaRPr lang="en-GB" sz="700" b="0" dirty="0">
              <a:solidFill>
                <a:schemeClr val="bg1"/>
              </a:solidFill>
              <a:effectLst/>
              <a:latin typeface="Arial"/>
            </a:endParaRPr>
          </a:p>
        </p:txBody>
      </p:sp>
      <p:cxnSp>
        <p:nvCxnSpPr>
          <p:cNvPr id="10" name="Straight Connector 9"/>
          <p:cNvCxnSpPr>
            <a:cxnSpLocks/>
          </p:cNvCxnSpPr>
          <p:nvPr userDrawn="1"/>
        </p:nvCxnSpPr>
        <p:spPr>
          <a:xfrm flipV="1">
            <a:off x="396875" y="559151"/>
            <a:ext cx="9899650" cy="3619"/>
          </a:xfrm>
          <a:prstGeom prst="line">
            <a:avLst/>
          </a:prstGeom>
          <a:ln w="254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7">
            <a:extLst>
              <a:ext uri="{FF2B5EF4-FFF2-40B4-BE49-F238E27FC236}">
                <a16:creationId xmlns:a16="http://schemas.microsoft.com/office/drawing/2014/main" id="{A9F6485B-A531-4F56-A9FA-D44E54DC31B7}"/>
              </a:ext>
            </a:extLst>
          </p:cNvPr>
          <p:cNvSpPr txBox="1">
            <a:spLocks/>
          </p:cNvSpPr>
          <p:nvPr userDrawn="1"/>
        </p:nvSpPr>
        <p:spPr>
          <a:xfrm>
            <a:off x="395201" y="1404571"/>
            <a:ext cx="9901324" cy="3224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997120" rtl="0" eaLnBrk="1" latinLnBrk="0" hangingPunct="1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None/>
              <a:defRPr sz="1800" b="0" kern="1200" baseline="0">
                <a:solidFill>
                  <a:schemeClr val="accent3"/>
                </a:solidFill>
                <a:latin typeface="Avenir Next LT Pro Light" panose="020B0304020202020204" pitchFamily="34" charset="0"/>
                <a:ea typeface="+mn-ea"/>
                <a:cs typeface="+mn-cs"/>
              </a:defRPr>
            </a:lvl1pPr>
            <a:lvl2pPr marL="357188" indent="-176213" algn="l" defTabSz="99712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539750" indent="-168275" algn="l" defTabSz="99712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717550" indent="-171450" algn="l" defTabSz="99712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spcBef>
                <a:spcPct val="20000"/>
              </a:spcBef>
              <a:buClr>
                <a:schemeClr val="accent5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ts val="1800"/>
              </a:lnSpc>
              <a:spcBef>
                <a:spcPts val="0"/>
              </a:spcBef>
            </a:pPr>
            <a:endParaRPr lang="en-GB" sz="1600" baseline="0" dirty="0">
              <a:solidFill>
                <a:schemeClr val="tx1"/>
              </a:solidFill>
              <a:latin typeface="Roboto" panose="02000000000000000000" pitchFamily="2" charset="0"/>
            </a:endParaRPr>
          </a:p>
        </p:txBody>
      </p: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8BB2C140-D149-4141-A02E-BA3B4D74AC15}"/>
              </a:ext>
            </a:extLst>
          </p:cNvPr>
          <p:cNvCxnSpPr>
            <a:cxnSpLocks/>
          </p:cNvCxnSpPr>
          <p:nvPr userDrawn="1"/>
        </p:nvCxnSpPr>
        <p:spPr>
          <a:xfrm flipV="1">
            <a:off x="396875" y="7006431"/>
            <a:ext cx="9899650" cy="3619"/>
          </a:xfrm>
          <a:prstGeom prst="line">
            <a:avLst/>
          </a:prstGeom>
          <a:ln w="254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E5C7F12-72BB-41D1-8684-2433539C79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2099" y="2513013"/>
            <a:ext cx="9901323" cy="42973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C88E1377-8935-4BA5-8C31-CA8CFEBEDD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41713" y="7008813"/>
            <a:ext cx="3609975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3" name="Date Placeholder 22">
            <a:extLst>
              <a:ext uri="{FF2B5EF4-FFF2-40B4-BE49-F238E27FC236}">
                <a16:creationId xmlns:a16="http://schemas.microsoft.com/office/drawing/2014/main" id="{78D3D389-79D6-4DA2-BBA5-F9738D380B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5013" y="7008813"/>
            <a:ext cx="2406650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2FD483-AD0E-42FC-8ABB-13F9BFE7203D}" type="datetime1">
              <a:rPr lang="da-DK"/>
              <a:t>09-10-2024</a:t>
            </a:fld>
            <a:endParaRPr lang="da-DK"/>
          </a:p>
        </p:txBody>
      </p:sp>
      <p:sp>
        <p:nvSpPr>
          <p:cNvPr id="24" name="Slide Number Placeholder 23">
            <a:extLst>
              <a:ext uri="{FF2B5EF4-FFF2-40B4-BE49-F238E27FC236}">
                <a16:creationId xmlns:a16="http://schemas.microsoft.com/office/drawing/2014/main" id="{E8084118-54CB-4B14-BB87-921C30FB27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51738" y="7008813"/>
            <a:ext cx="2406650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E76FBC-D489-4787-A9AB-0EEB7A1ACFD8}" type="slidenum">
              <a:rPr lang="da-DK"/>
              <a:t>‹#›</a:t>
            </a:fld>
            <a:endParaRPr lang="da-DK"/>
          </a:p>
        </p:txBody>
      </p:sp>
      <p:sp>
        <p:nvSpPr>
          <p:cNvPr id="3" name="empower - DO NOT DELETE!!!" hidden="1">
            <a:extLst>
              <a:ext uri="{FF2B5EF4-FFF2-40B4-BE49-F238E27FC236}">
                <a16:creationId xmlns:a16="http://schemas.microsoft.com/office/drawing/2014/main" id="{76C38AE1-0624-4A50-9969-F9DB37DB4F6B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5" r:id="rId2"/>
    <p:sldLayoutId id="2147483666" r:id="rId3"/>
    <p:sldLayoutId id="2147483654" r:id="rId4"/>
    <p:sldLayoutId id="2147483650" r:id="rId5"/>
    <p:sldLayoutId id="2147483723" r:id="rId6"/>
    <p:sldLayoutId id="2147483714" r:id="rId7"/>
    <p:sldLayoutId id="2147483722" r:id="rId8"/>
    <p:sldLayoutId id="2147483677" r:id="rId9"/>
    <p:sldLayoutId id="2147483707" r:id="rId10"/>
    <p:sldLayoutId id="2147483708" r:id="rId11"/>
    <p:sldLayoutId id="2147483709" r:id="rId12"/>
    <p:sldLayoutId id="2147483711" r:id="rId13"/>
  </p:sldLayoutIdLst>
  <p:hf sldNum="0" hdr="0" ftr="0" dt="0"/>
  <p:txStyles>
    <p:titleStyle>
      <a:lvl1pPr algn="l" defTabSz="997120" rtl="0" eaLnBrk="1" latinLnBrk="0" hangingPunct="1">
        <a:lnSpc>
          <a:spcPts val="2400"/>
        </a:lnSpc>
        <a:spcBef>
          <a:spcPct val="0"/>
        </a:spcBef>
        <a:buNone/>
        <a:defRPr sz="2200" b="0" i="0" kern="1200" cap="none" baseline="0">
          <a:solidFill>
            <a:schemeClr val="tx1"/>
          </a:solidFill>
          <a:latin typeface="+mj-lt"/>
          <a:ea typeface="Roboto" panose="02000000000000000000" pitchFamily="2" charset="0"/>
          <a:cs typeface="Calibri" panose="020F0502020204030204" pitchFamily="34" charset="0"/>
        </a:defRPr>
      </a:lvl1pPr>
    </p:titleStyle>
    <p:bodyStyle>
      <a:lvl1pPr marL="0" indent="0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66725" indent="-285750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 typeface="Roboto" panose="02000000000000000000" pitchFamily="2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57225" indent="-285750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 typeface="Roboto" panose="02000000000000000000" pitchFamily="2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831850" indent="-285750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 typeface="Roboto" panose="02000000000000000000" pitchFamily="2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74625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 typeface="Roboto" panose="02000000000000000000" pitchFamily="2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742080" indent="-249280" algn="l" defTabSz="99712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40640" indent="-249280" algn="l" defTabSz="99712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9200" indent="-249280" algn="l" defTabSz="99712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7760" indent="-249280" algn="l" defTabSz="99712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8559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712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5679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424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92799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9136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9919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848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50" userDrawn="1">
          <p15:clr>
            <a:srgbClr val="F26B43"/>
          </p15:clr>
        </p15:guide>
        <p15:guide id="5" pos="6486" userDrawn="1">
          <p15:clr>
            <a:srgbClr val="F26B43"/>
          </p15:clr>
        </p15:guide>
        <p15:guide id="9" orient="horz" pos="158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8.png"/><Relationship Id="rId3" Type="http://schemas.openxmlformats.org/officeDocument/2006/relationships/image" Target="../media/image9.svg"/><Relationship Id="rId7" Type="http://schemas.openxmlformats.org/officeDocument/2006/relationships/image" Target="../media/image13.svg"/><Relationship Id="rId12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sv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svg"/><Relationship Id="rId1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337A46-B614-4DB8-8714-683A1C1A1F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4 Fundamental Score meets NLP</a:t>
            </a:r>
            <a:endParaRPr lang="da-DK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2378D1F-E0B1-4FD5-9F63-7E24C31D62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October 2024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0520DD-893C-F427-9E83-F75C615BD89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9039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75AD24DE-9B30-94A7-63EA-9BD7D7B62633}"/>
              </a:ext>
            </a:extLst>
          </p:cNvPr>
          <p:cNvSpPr/>
          <p:nvPr/>
        </p:nvSpPr>
        <p:spPr>
          <a:xfrm>
            <a:off x="594580" y="4176641"/>
            <a:ext cx="4614790" cy="198004"/>
          </a:xfrm>
          <a:prstGeom prst="rect">
            <a:avLst/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25DEDB-96AD-4BE9-91BD-139A5539E2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2400" dirty="0"/>
              <a:t>LLMs Analyzing Bond Prospectuses - General Idea</a:t>
            </a:r>
            <a:endParaRPr lang="en-US" sz="2400" dirty="0"/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915208B9-B703-AAE5-27A4-2DEE86CD9F77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/>
              <a:t>Current Fundamental Scoring Process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Fundamental Score is 1-5, There are 7 sub-scores [Business Model, Competitive Positioning, Market Dynamics, …], </a:t>
            </a:r>
            <a:r>
              <a:rPr lang="en-US" sz="1000" dirty="0"/>
              <a:t>Each sub-score has explanatory labels.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For example, Market Dynamics has labels A-C, a-c</a:t>
            </a:r>
          </a:p>
          <a:p>
            <a:pPr>
              <a:lnSpc>
                <a:spcPct val="100000"/>
              </a:lnSpc>
            </a:pPr>
            <a:endParaRPr lang="en-US" sz="1000" dirty="0"/>
          </a:p>
          <a:p>
            <a:pPr marL="164144" indent="-164144">
              <a:lnSpc>
                <a:spcPct val="100000"/>
              </a:lnSpc>
            </a:pPr>
            <a:endParaRPr lang="en-GB" sz="10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AD5A6F6-B267-458D-49A4-08A694D126A1}"/>
              </a:ext>
            </a:extLst>
          </p:cNvPr>
          <p:cNvSpPr txBox="1"/>
          <p:nvPr/>
        </p:nvSpPr>
        <p:spPr>
          <a:xfrm>
            <a:off x="395202" y="2078204"/>
            <a:ext cx="5346440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64144" indent="-164144">
              <a:lnSpc>
                <a:spcPct val="100000"/>
              </a:lnSpc>
            </a:pPr>
            <a:r>
              <a:rPr lang="en-US" sz="1000" dirty="0"/>
              <a:t>- A. Low cyclicality of product demand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- B. Positive demographic, consumer &amp; structural trends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- C. Limited seasonality and stable working capital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ACBFD16-D8F5-D4E1-43AD-4D7E55980BD3}"/>
              </a:ext>
            </a:extLst>
          </p:cNvPr>
          <p:cNvSpPr txBox="1"/>
          <p:nvPr/>
        </p:nvSpPr>
        <p:spPr>
          <a:xfrm>
            <a:off x="3999960" y="2077788"/>
            <a:ext cx="5346440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64144" indent="-164144">
              <a:lnSpc>
                <a:spcPct val="100000"/>
              </a:lnSpc>
            </a:pPr>
            <a:r>
              <a:rPr lang="en-US" sz="1000" dirty="0"/>
              <a:t>- a. Majority of revenues exposed to above average cyclical products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- b. Weak/negative demographic, consumer &amp; structural trends</a:t>
            </a:r>
          </a:p>
          <a:p>
            <a:pPr>
              <a:lnSpc>
                <a:spcPct val="100000"/>
              </a:lnSpc>
            </a:pPr>
            <a:r>
              <a:rPr lang="en-US" sz="1000" dirty="0"/>
              <a:t>- c. Seasonal industry with volatile working capital</a:t>
            </a: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5F8E7537-0558-75B8-B605-E2BCC33309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1642" y="5211843"/>
            <a:ext cx="4075564" cy="165209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B6255092-F8ED-CC92-3AA6-DD01A220306E}"/>
              </a:ext>
            </a:extLst>
          </p:cNvPr>
          <p:cNvSpPr txBox="1"/>
          <p:nvPr/>
        </p:nvSpPr>
        <p:spPr>
          <a:xfrm>
            <a:off x="395202" y="2631786"/>
            <a:ext cx="8951198" cy="31700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b="1" dirty="0"/>
              <a:t>My Research Motivation</a:t>
            </a:r>
          </a:p>
          <a:p>
            <a:r>
              <a:rPr lang="en-US" sz="1000" dirty="0"/>
              <a:t>I believe LLMs can derive sub-score labels from bond prospectuses.</a:t>
            </a:r>
          </a:p>
          <a:p>
            <a:endParaRPr lang="en-US" sz="1000" dirty="0"/>
          </a:p>
          <a:p>
            <a:r>
              <a:rPr lang="en-US" sz="1000" b="1" dirty="0"/>
              <a:t>What LLMs are/aren’t good at</a:t>
            </a:r>
          </a:p>
          <a:p>
            <a:r>
              <a:rPr lang="en-US" sz="1000" dirty="0"/>
              <a:t>LLMs are good at processing and interpreting textual data, e.g., scanning bond prospectuses to identify specific</a:t>
            </a:r>
          </a:p>
          <a:p>
            <a:r>
              <a:rPr lang="en-US" sz="1000" dirty="0"/>
              <a:t>characteristics or keywords related to our sub-score labels.</a:t>
            </a:r>
          </a:p>
          <a:p>
            <a:r>
              <a:rPr lang="en-US" sz="1000" dirty="0"/>
              <a:t>LLMs are not designed to generate precise numerical outputs. They can recognize numbers within a text, but assigning accurate </a:t>
            </a:r>
          </a:p>
          <a:p>
            <a:r>
              <a:rPr lang="en-US" sz="1000" dirty="0"/>
              <a:t>numerical scores (e.g., a Fundamental Score from 1 to 5) based solely on qualitative analysis is challenging.</a:t>
            </a:r>
          </a:p>
          <a:p>
            <a:endParaRPr lang="en-US" sz="1000" dirty="0"/>
          </a:p>
          <a:p>
            <a:r>
              <a:rPr lang="en-US" sz="1000" b="1" dirty="0"/>
              <a:t>Instead, using LLMs to derive sub-score labels can be a binary problem: </a:t>
            </a:r>
          </a:p>
          <a:p>
            <a:pPr marL="171450" indent="-171450">
              <a:buFontTx/>
              <a:buChar char="-"/>
            </a:pPr>
            <a:r>
              <a:rPr lang="en-US" sz="1000" dirty="0"/>
              <a:t>“From this section of text: {SECTION OF TEXT}, is sub-score label a/b/c present?”</a:t>
            </a:r>
          </a:p>
          <a:p>
            <a:r>
              <a:rPr lang="en-US" sz="1000" dirty="0"/>
              <a:t>To leverage LLMs effectively, we need to develop precise prompts that guide the model to</a:t>
            </a:r>
          </a:p>
          <a:p>
            <a:pPr marL="228600" indent="-228600">
              <a:buAutoNum type="arabicPeriod"/>
            </a:pPr>
            <a:r>
              <a:rPr lang="en-US" sz="1000" b="1" dirty="0"/>
              <a:t>Directly Address the Query</a:t>
            </a:r>
            <a:r>
              <a:rPr lang="en-US" sz="1000" dirty="0"/>
              <a:t>: Ask the LLM to confirm the presence of specific sub-score labels within a text segment, prompting for a clear "yes" or "no.“</a:t>
            </a:r>
          </a:p>
          <a:p>
            <a:pPr marL="228600" indent="-228600">
              <a:buAutoNum type="arabicPeriod"/>
            </a:pPr>
            <a:r>
              <a:rPr lang="en-US" sz="1000" b="1" dirty="0"/>
              <a:t>Provide Justifications</a:t>
            </a:r>
            <a:r>
              <a:rPr lang="en-US" sz="1000" dirty="0"/>
              <a:t>: When the answer is "yes," request that the LLM cites the exact phrases or sentences where the characteristic is mentioned, enhancing transparency and traceability.</a:t>
            </a:r>
          </a:p>
          <a:p>
            <a:endParaRPr lang="en-US" sz="1000" dirty="0"/>
          </a:p>
          <a:p>
            <a:r>
              <a:rPr lang="en-US" sz="1000" b="1" dirty="0"/>
              <a:t>My MSc Thesis more specifically</a:t>
            </a:r>
          </a:p>
          <a:p>
            <a:r>
              <a:rPr lang="en-US" sz="1000" dirty="0"/>
              <a:t>Use analyst sub-score labels to find best performing LLMs</a:t>
            </a:r>
          </a:p>
          <a:p>
            <a:r>
              <a:rPr lang="en-US" sz="1000" dirty="0"/>
              <a:t>Research the strengths and limitations of LLMs on this task</a:t>
            </a:r>
          </a:p>
          <a:p>
            <a:r>
              <a:rPr lang="en-US" sz="1000" dirty="0"/>
              <a:t>Try approaches from the literature to improve performance</a:t>
            </a:r>
          </a:p>
        </p:txBody>
      </p:sp>
    </p:spTree>
    <p:extLst>
      <p:ext uri="{BB962C8B-B14F-4D97-AF65-F5344CB8AC3E}">
        <p14:creationId xmlns:p14="http://schemas.microsoft.com/office/powerpoint/2010/main" val="22233838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49DB202-A3E2-4A4E-C37A-9F1E1305E6A6}"/>
              </a:ext>
            </a:extLst>
          </p:cNvPr>
          <p:cNvSpPr/>
          <p:nvPr/>
        </p:nvSpPr>
        <p:spPr>
          <a:xfrm>
            <a:off x="4146608" y="2615596"/>
            <a:ext cx="4910629" cy="1323439"/>
          </a:xfrm>
          <a:prstGeom prst="rect">
            <a:avLst/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25DEDB-96AD-4BE9-91BD-139A5539E2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Example - Market Dynamics, Analyst vs LLM</a:t>
            </a:r>
            <a:endParaRPr lang="en-US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608B0EFA-E3E9-4205-831D-7399BC72C66F}"/>
              </a:ext>
            </a:extLst>
          </p:cNvPr>
          <p:cNvSpPr txBox="1">
            <a:spLocks/>
          </p:cNvSpPr>
          <p:nvPr/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/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Example – Random Prospectus</a:t>
            </a:r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9D2F1AAB-E2AD-8667-F8D1-B24D6C991346}"/>
              </a:ext>
            </a:extLst>
          </p:cNvPr>
          <p:cNvSpPr/>
          <p:nvPr/>
        </p:nvSpPr>
        <p:spPr>
          <a:xfrm rot="10800000">
            <a:off x="5732002" y="4018237"/>
            <a:ext cx="1634349" cy="302607"/>
          </a:xfrm>
          <a:prstGeom prst="triangle">
            <a:avLst/>
          </a:prstGeom>
          <a:solidFill>
            <a:srgbClr val="33B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B9E1DAB-84C5-6AFD-D1B2-B17C1F3C8BDB}"/>
              </a:ext>
            </a:extLst>
          </p:cNvPr>
          <p:cNvSpPr/>
          <p:nvPr/>
        </p:nvSpPr>
        <p:spPr>
          <a:xfrm>
            <a:off x="4151427" y="4374646"/>
            <a:ext cx="4910629" cy="2210344"/>
          </a:xfrm>
          <a:prstGeom prst="rect">
            <a:avLst/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AD762A4-092C-DEB9-ED3A-10794AA4107E}"/>
              </a:ext>
            </a:extLst>
          </p:cNvPr>
          <p:cNvSpPr txBox="1"/>
          <p:nvPr/>
        </p:nvSpPr>
        <p:spPr>
          <a:xfrm>
            <a:off x="4146608" y="2592601"/>
            <a:ext cx="491062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Is there anything in this risk factors section referring to any of these positives/risks? </a:t>
            </a:r>
          </a:p>
          <a:p>
            <a:pPr marL="171450" indent="-171450">
              <a:buFontTx/>
              <a:buChar char="-"/>
            </a:pPr>
            <a:r>
              <a:rPr lang="en-US" sz="1000" dirty="0"/>
              <a:t>- A. Low cyclicality of product demand </a:t>
            </a:r>
          </a:p>
          <a:p>
            <a:pPr marL="171450" indent="-171450">
              <a:buFontTx/>
              <a:buChar char="-"/>
            </a:pPr>
            <a:r>
              <a:rPr lang="en-US" sz="1000" dirty="0"/>
              <a:t>- B. Positive demographic, consumer &amp; structural trends </a:t>
            </a:r>
          </a:p>
          <a:p>
            <a:pPr marL="171450" indent="-171450">
              <a:buFontTx/>
              <a:buChar char="-"/>
            </a:pPr>
            <a:r>
              <a:rPr lang="en-US" sz="1000" dirty="0"/>
              <a:t>- C. Limited seasonality and stable working capital </a:t>
            </a:r>
          </a:p>
          <a:p>
            <a:pPr marL="171450" indent="-171450">
              <a:buFontTx/>
              <a:buChar char="-"/>
            </a:pPr>
            <a:r>
              <a:rPr lang="en-US" sz="1000" dirty="0"/>
              <a:t>- a. Majority of revenues exposed to above average cyclical products </a:t>
            </a:r>
          </a:p>
          <a:p>
            <a:pPr marL="171450" indent="-171450">
              <a:buFontTx/>
              <a:buChar char="-"/>
            </a:pPr>
            <a:r>
              <a:rPr lang="en-US" sz="1000" dirty="0"/>
              <a:t>- b. Weak/negative demographic, consumer &amp; structural trends </a:t>
            </a:r>
          </a:p>
          <a:p>
            <a:pPr marL="171450" indent="-171450">
              <a:buFontTx/>
              <a:buChar char="-"/>
            </a:pPr>
            <a:r>
              <a:rPr lang="en-US" sz="1000" dirty="0"/>
              <a:t>- c. Seasonal industry with volatile working capital</a:t>
            </a:r>
          </a:p>
          <a:p>
            <a:r>
              <a:rPr lang="en-US" sz="1000" dirty="0"/>
              <a:t>[Copy/Pasted the entire RISK FACTORS Section]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BEA58BB-13D4-B297-0859-2EC45658B4DA}"/>
              </a:ext>
            </a:extLst>
          </p:cNvPr>
          <p:cNvSpPr txBox="1"/>
          <p:nvPr/>
        </p:nvSpPr>
        <p:spPr>
          <a:xfrm>
            <a:off x="4146608" y="4367279"/>
            <a:ext cx="4910629" cy="23237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Yes, the risk factors section refers to some of the risks listed:</a:t>
            </a:r>
          </a:p>
          <a:p>
            <a:r>
              <a:rPr lang="en-US" sz="900" b="1" dirty="0"/>
              <a:t>a. Majority of revenues exposed to above average cyclical products</a:t>
            </a:r>
            <a:endParaRPr lang="en-US" sz="9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900" i="1" dirty="0"/>
              <a:t>"EDP's profitability may be affected by significant changes in energy demand in each of the countries in which it operates."</a:t>
            </a:r>
            <a:endParaRPr lang="en-US" sz="9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900" i="1" dirty="0"/>
              <a:t>"Significant changes in the demand for electricity and natural gas in the markets in which EDP operates may have a material impact on the profitability of EDP’s business activities, such as generation and supply activities."</a:t>
            </a:r>
            <a:endParaRPr lang="en-US" sz="9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900" i="1" dirty="0"/>
              <a:t>"Any decrease in power demand or decrease in the rate of demand growth whether due to lower electrification of the economy, increased energy efficiency, the impact of the COVID-19 pandemic or other unexpected events or otherwise could adversely impact the demand for new renewable projects or otherwise have a material adverse effect on EDP’s business, financial condition, results of operations and prospects."</a:t>
            </a:r>
            <a:endParaRPr lang="en-US" sz="900" dirty="0"/>
          </a:p>
          <a:p>
            <a:r>
              <a:rPr lang="en-US" sz="900" b="1" dirty="0"/>
              <a:t>b. Weak/negative demographic, consumer &amp; structural trends</a:t>
            </a:r>
            <a:endParaRPr lang="en-US" sz="9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900" i="1" dirty="0"/>
              <a:t>"EDP is exposed to the uncertainty of the macroeconomic, political and social environment.“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900" i="1" dirty="0"/>
              <a:t>Etc. etc.</a:t>
            </a:r>
            <a:endParaRPr lang="en-US" sz="900" dirty="0"/>
          </a:p>
          <a:p>
            <a:endParaRPr lang="en-US" sz="100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CAEB3BA-25E3-2402-C397-FC17FE7570E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3205"/>
          <a:stretch/>
        </p:blipFill>
        <p:spPr>
          <a:xfrm>
            <a:off x="4277186" y="1404571"/>
            <a:ext cx="5223997" cy="1029217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B6274376-7D7B-8E39-B8BD-E93ADA33C45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725"/>
          <a:stretch/>
        </p:blipFill>
        <p:spPr>
          <a:xfrm>
            <a:off x="378504" y="1840182"/>
            <a:ext cx="3740565" cy="4514514"/>
          </a:xfrm>
          <a:prstGeom prst="rect">
            <a:avLst/>
          </a:prstGeom>
        </p:spPr>
      </p:pic>
      <p:pic>
        <p:nvPicPr>
          <p:cNvPr id="3" name="Picture 6" descr="Robot - Free vector emoji on creazilla.com">
            <a:extLst>
              <a:ext uri="{FF2B5EF4-FFF2-40B4-BE49-F238E27FC236}">
                <a16:creationId xmlns:a16="http://schemas.microsoft.com/office/drawing/2014/main" id="{008063B3-F38A-269B-B13A-95948B1A19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9875" y="3959630"/>
            <a:ext cx="413835" cy="4138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545641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EDECF45-40A7-4C57-A87A-EBF0BEA3609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38">
            <a:extLst>
              <a:ext uri="{FF2B5EF4-FFF2-40B4-BE49-F238E27FC236}">
                <a16:creationId xmlns:a16="http://schemas.microsoft.com/office/drawing/2014/main" id="{2438BED5-ED2A-4C73-8186-DD252E4439E3}"/>
              </a:ext>
            </a:extLst>
          </p:cNvPr>
          <p:cNvSpPr txBox="1">
            <a:spLocks/>
          </p:cNvSpPr>
          <p:nvPr/>
        </p:nvSpPr>
        <p:spPr>
          <a:xfrm>
            <a:off x="3733975" y="2038752"/>
            <a:ext cx="2441983" cy="32004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 marL="180975" indent="-180975" algn="l" defTabSz="997120" rtl="0" eaLnBrk="1" latinLnBrk="0" hangingPunct="1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●"/>
              <a:defRPr lang="en-GB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76213" algn="l" defTabSz="99712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68275" algn="l" defTabSz="99712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1450" algn="l" defTabSz="99712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spcBef>
                <a:spcPct val="200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dirty="0">
                <a:solidFill>
                  <a:srgbClr val="FFFFFF"/>
                </a:solidFill>
              </a:rPr>
              <a:t>Analytical Framework</a:t>
            </a:r>
          </a:p>
        </p:txBody>
      </p:sp>
      <p:sp>
        <p:nvSpPr>
          <p:cNvPr id="8" name="Text Placeholder 38">
            <a:extLst>
              <a:ext uri="{FF2B5EF4-FFF2-40B4-BE49-F238E27FC236}">
                <a16:creationId xmlns:a16="http://schemas.microsoft.com/office/drawing/2014/main" id="{C27C2BDF-822B-45EA-AAC1-2B69A9C01FE5}"/>
              </a:ext>
            </a:extLst>
          </p:cNvPr>
          <p:cNvSpPr txBox="1">
            <a:spLocks/>
          </p:cNvSpPr>
          <p:nvPr/>
        </p:nvSpPr>
        <p:spPr>
          <a:xfrm>
            <a:off x="6939490" y="2038752"/>
            <a:ext cx="2441983" cy="32004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 marL="180975" indent="-180975" algn="l" defTabSz="997120" rtl="0" eaLnBrk="1" latinLnBrk="0" hangingPunct="1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●"/>
              <a:defRPr lang="en-GB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76213" algn="l" defTabSz="99712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68275" algn="l" defTabSz="99712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1450" algn="l" defTabSz="99712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spcBef>
                <a:spcPct val="200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dirty="0">
                <a:solidFill>
                  <a:srgbClr val="FFFFFF"/>
                </a:solidFill>
              </a:rPr>
              <a:t>Integration with Existing Systems</a:t>
            </a: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9B2F6D08-98D9-4AF4-8F4B-12410E54E742}"/>
              </a:ext>
            </a:extLst>
          </p:cNvPr>
          <p:cNvSpPr txBox="1">
            <a:spLocks/>
          </p:cNvSpPr>
          <p:nvPr/>
        </p:nvSpPr>
        <p:spPr>
          <a:xfrm>
            <a:off x="551226" y="2412096"/>
            <a:ext cx="2420541" cy="520527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/>
            <a:r>
              <a:rPr lang="en-GB" sz="1100" dirty="0"/>
              <a:t>Automating Data Acquisition</a:t>
            </a:r>
          </a:p>
          <a:p>
            <a:pPr marL="164144" indent="-164144"/>
            <a:r>
              <a:rPr lang="en-GB" sz="1100" dirty="0"/>
              <a:t>Text Segmentation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D53137A3-7D2C-419A-AA15-AB114F8EA2F0}"/>
              </a:ext>
            </a:extLst>
          </p:cNvPr>
          <p:cNvSpPr txBox="1">
            <a:spLocks/>
          </p:cNvSpPr>
          <p:nvPr/>
        </p:nvSpPr>
        <p:spPr>
          <a:xfrm>
            <a:off x="3723059" y="2412096"/>
            <a:ext cx="2506286" cy="75956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/>
            <a:r>
              <a:rPr lang="en-GB" sz="1100" dirty="0"/>
              <a:t>Identify LLM possibilities / limitations</a:t>
            </a:r>
          </a:p>
          <a:p>
            <a:pPr marL="164144" indent="-164144"/>
            <a:r>
              <a:rPr lang="en-GB" sz="1100" dirty="0"/>
              <a:t>Continuous Improvement</a:t>
            </a:r>
          </a:p>
          <a:p>
            <a:pPr marL="164144" indent="-164144"/>
            <a:endParaRPr lang="en-GB" sz="1100" dirty="0"/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1706B387-EB85-48D5-A997-85E7DB46D1C1}"/>
              </a:ext>
            </a:extLst>
          </p:cNvPr>
          <p:cNvSpPr txBox="1">
            <a:spLocks/>
          </p:cNvSpPr>
          <p:nvPr/>
        </p:nvSpPr>
        <p:spPr>
          <a:xfrm>
            <a:off x="7002848" y="2412096"/>
            <a:ext cx="2422755" cy="372410"/>
          </a:xfrm>
          <a:prstGeom prst="rect">
            <a:avLst/>
          </a:prstGeom>
          <a:noFill/>
        </p:spPr>
        <p:txBody>
          <a:bodyPr vert="horz" lIns="0" tIns="0" rIns="0" bIns="0" rtlCol="0">
            <a:spAutoFit/>
          </a:bodyPr>
          <a:lstStyle>
            <a:lvl1pPr marL="251012" indent="-251012" algn="l" defTabSz="997120" rtl="0" eaLnBrk="1" latinLnBrk="0" hangingPunct="1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●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3753" indent="-252742" algn="l" defTabSz="99712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6109" indent="-242356" algn="l" defTabSz="99712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97120" indent="-251012" algn="l" defTabSz="99712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48132" indent="-251012" algn="l" defTabSz="997120" rtl="0" eaLnBrk="1" latinLnBrk="0" hangingPunct="1">
              <a:spcBef>
                <a:spcPct val="200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00" dirty="0"/>
              <a:t>Database Synchronization</a:t>
            </a:r>
          </a:p>
          <a:p>
            <a:pPr marL="0" indent="0">
              <a:buNone/>
            </a:pPr>
            <a:r>
              <a:rPr lang="en-GB" sz="1100" dirty="0"/>
              <a:t>Data Availability - PBI Dashboard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EE7A2DF-108B-4981-B65B-15F88E5EC7FA}"/>
              </a:ext>
            </a:extLst>
          </p:cNvPr>
          <p:cNvSpPr/>
          <p:nvPr/>
        </p:nvSpPr>
        <p:spPr>
          <a:xfrm>
            <a:off x="6953460" y="3347385"/>
            <a:ext cx="2422755" cy="2556643"/>
          </a:xfrm>
          <a:prstGeom prst="rect">
            <a:avLst/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56B499A-3C16-4A5E-894E-177978ACD5EC}"/>
              </a:ext>
            </a:extLst>
          </p:cNvPr>
          <p:cNvSpPr/>
          <p:nvPr/>
        </p:nvSpPr>
        <p:spPr>
          <a:xfrm>
            <a:off x="3739941" y="3381200"/>
            <a:ext cx="2422755" cy="2556643"/>
          </a:xfrm>
          <a:prstGeom prst="rect">
            <a:avLst/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D9A4BE7-D32A-4679-95C8-DD2FE160FF70}"/>
              </a:ext>
            </a:extLst>
          </p:cNvPr>
          <p:cNvSpPr/>
          <p:nvPr/>
        </p:nvSpPr>
        <p:spPr>
          <a:xfrm>
            <a:off x="548205" y="3347385"/>
            <a:ext cx="2423563" cy="2556643"/>
          </a:xfrm>
          <a:prstGeom prst="rect">
            <a:avLst/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CFBDFDD-21F6-4E79-BA7E-7AF7CA20E7D8}"/>
              </a:ext>
            </a:extLst>
          </p:cNvPr>
          <p:cNvSpPr txBox="1"/>
          <p:nvPr/>
        </p:nvSpPr>
        <p:spPr bwMode="auto">
          <a:xfrm>
            <a:off x="3803762" y="5056746"/>
            <a:ext cx="2269860" cy="7031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64144" indent="-164144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●"/>
            </a:pPr>
            <a:r>
              <a:rPr lang="en-US" sz="1088" dirty="0">
                <a:latin typeface="Calibri" panose="020F0502020204030204" pitchFamily="34" charset="0"/>
                <a:cs typeface="Calibri" panose="020F0502020204030204" pitchFamily="34" charset="0"/>
              </a:rPr>
              <a:t>Find best performing model compared to C4 analysts</a:t>
            </a:r>
          </a:p>
          <a:p>
            <a:pPr marL="164144" indent="-164144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●"/>
            </a:pPr>
            <a:r>
              <a:rPr lang="en-US" sz="1088" dirty="0">
                <a:latin typeface="Calibri" panose="020F0502020204030204" pitchFamily="34" charset="0"/>
                <a:cs typeface="Calibri" panose="020F0502020204030204" pitchFamily="34" charset="0"/>
              </a:rPr>
              <a:t>Setup process to regularly test new models against 500+ analyst scor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C5F9735-3916-4F4B-B4B5-229E9CC12691}"/>
              </a:ext>
            </a:extLst>
          </p:cNvPr>
          <p:cNvSpPr txBox="1"/>
          <p:nvPr/>
        </p:nvSpPr>
        <p:spPr bwMode="auto">
          <a:xfrm>
            <a:off x="630728" y="5056746"/>
            <a:ext cx="2081695" cy="5691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64144" indent="-164144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●"/>
            </a:pPr>
            <a:r>
              <a:rPr lang="en-US" sz="1088" dirty="0">
                <a:latin typeface="Calibri" panose="020F0502020204030204" pitchFamily="34" charset="0"/>
                <a:cs typeface="Calibri" panose="020F0502020204030204" pitchFamily="34" charset="0"/>
              </a:rPr>
              <a:t>Scrape from ESMA / SEC / </a:t>
            </a:r>
            <a:r>
              <a:rPr lang="en-US" sz="1088" dirty="0" err="1">
                <a:latin typeface="Calibri" panose="020F0502020204030204" pitchFamily="34" charset="0"/>
                <a:cs typeface="Calibri" panose="020F0502020204030204" pitchFamily="34" charset="0"/>
              </a:rPr>
              <a:t>Findox</a:t>
            </a:r>
            <a:endParaRPr lang="en-US" sz="1088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64144" indent="-164144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●"/>
            </a:pPr>
            <a:r>
              <a:rPr lang="en-US" sz="1088" dirty="0">
                <a:latin typeface="Calibri" panose="020F0502020204030204" pitchFamily="34" charset="0"/>
                <a:cs typeface="Calibri" panose="020F0502020204030204" pitchFamily="34" charset="0"/>
              </a:rPr>
              <a:t>Split prospectus into sections</a:t>
            </a:r>
          </a:p>
          <a:p>
            <a:pPr marL="164144" indent="-164144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●"/>
            </a:pPr>
            <a:r>
              <a:rPr lang="en-US" sz="1088" dirty="0">
                <a:latin typeface="Calibri" panose="020F0502020204030204" pitchFamily="34" charset="0"/>
                <a:cs typeface="Calibri" panose="020F0502020204030204" pitchFamily="34" charset="0"/>
              </a:rPr>
              <a:t>Store in DB</a:t>
            </a:r>
          </a:p>
        </p:txBody>
      </p:sp>
      <p:sp>
        <p:nvSpPr>
          <p:cNvPr id="20" name="Isosceles Triangle 19">
            <a:extLst>
              <a:ext uri="{FF2B5EF4-FFF2-40B4-BE49-F238E27FC236}">
                <a16:creationId xmlns:a16="http://schemas.microsoft.com/office/drawing/2014/main" id="{52D9263E-6C5A-40C4-91B4-9B0A05C77E60}"/>
              </a:ext>
            </a:extLst>
          </p:cNvPr>
          <p:cNvSpPr/>
          <p:nvPr/>
        </p:nvSpPr>
        <p:spPr>
          <a:xfrm rot="5400000">
            <a:off x="2544328" y="4473404"/>
            <a:ext cx="1634349" cy="302607"/>
          </a:xfrm>
          <a:prstGeom prst="triangle">
            <a:avLst/>
          </a:prstGeom>
          <a:solidFill>
            <a:srgbClr val="33B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9F45252-E9D9-41B9-B8EB-8AF6965309CC}"/>
              </a:ext>
            </a:extLst>
          </p:cNvPr>
          <p:cNvSpPr txBox="1"/>
          <p:nvPr/>
        </p:nvSpPr>
        <p:spPr bwMode="auto">
          <a:xfrm>
            <a:off x="7002848" y="5057712"/>
            <a:ext cx="2264351" cy="535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64144" indent="-164144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●"/>
            </a:pPr>
            <a:r>
              <a:rPr lang="en-US" sz="1088" dirty="0">
                <a:latin typeface="Calibri" panose="020F0502020204030204" pitchFamily="34" charset="0"/>
                <a:cs typeface="Calibri" panose="020F0502020204030204" pitchFamily="34" charset="0"/>
              </a:rPr>
              <a:t>Integrate LLM outputs into DB</a:t>
            </a:r>
          </a:p>
          <a:p>
            <a:pPr marL="164144" indent="-164144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●"/>
            </a:pPr>
            <a:r>
              <a:rPr lang="en-US" sz="1088" dirty="0">
                <a:latin typeface="Calibri" panose="020F0502020204030204" pitchFamily="34" charset="0"/>
                <a:cs typeface="Calibri" panose="020F0502020204030204" pitchFamily="34" charset="0"/>
              </a:rPr>
              <a:t>Allow analysts to interact with outputs</a:t>
            </a:r>
          </a:p>
        </p:txBody>
      </p:sp>
      <p:sp>
        <p:nvSpPr>
          <p:cNvPr id="28" name="Isosceles Triangle 57">
            <a:extLst>
              <a:ext uri="{FF2B5EF4-FFF2-40B4-BE49-F238E27FC236}">
                <a16:creationId xmlns:a16="http://schemas.microsoft.com/office/drawing/2014/main" id="{BC015162-1286-4B4D-AC30-7DCAA0C9FE5D}"/>
              </a:ext>
            </a:extLst>
          </p:cNvPr>
          <p:cNvSpPr/>
          <p:nvPr/>
        </p:nvSpPr>
        <p:spPr>
          <a:xfrm rot="5400000">
            <a:off x="5746552" y="4473404"/>
            <a:ext cx="1634349" cy="302607"/>
          </a:xfrm>
          <a:prstGeom prst="triangle">
            <a:avLst/>
          </a:prstGeom>
          <a:solidFill>
            <a:srgbClr val="33B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72301AB-FBB9-4AED-BFF8-D446E1EB10E5}"/>
              </a:ext>
            </a:extLst>
          </p:cNvPr>
          <p:cNvGrpSpPr/>
          <p:nvPr/>
        </p:nvGrpSpPr>
        <p:grpSpPr>
          <a:xfrm>
            <a:off x="7823733" y="3968893"/>
            <a:ext cx="942079" cy="880965"/>
            <a:chOff x="8394965" y="3714073"/>
            <a:chExt cx="1038686" cy="971305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050FEDEB-68F7-42C9-9D41-A5CF0F87AF81}"/>
                </a:ext>
              </a:extLst>
            </p:cNvPr>
            <p:cNvGrpSpPr/>
            <p:nvPr/>
          </p:nvGrpSpPr>
          <p:grpSpPr>
            <a:xfrm>
              <a:off x="8936081" y="3714073"/>
              <a:ext cx="497570" cy="971305"/>
              <a:chOff x="8936081" y="3714073"/>
              <a:chExt cx="497570" cy="971305"/>
            </a:xfrm>
          </p:grpSpPr>
          <p:pic>
            <p:nvPicPr>
              <p:cNvPr id="34" name="Graphic 33" descr="Bar chart">
                <a:extLst>
                  <a:ext uri="{FF2B5EF4-FFF2-40B4-BE49-F238E27FC236}">
                    <a16:creationId xmlns:a16="http://schemas.microsoft.com/office/drawing/2014/main" id="{5A64972F-4C97-49AA-8606-0466D5F8A7B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980284" y="3714073"/>
                <a:ext cx="409164" cy="409164"/>
              </a:xfrm>
              <a:prstGeom prst="rect">
                <a:avLst/>
              </a:prstGeom>
            </p:spPr>
          </p:pic>
          <p:pic>
            <p:nvPicPr>
              <p:cNvPr id="35" name="Graphic 34" descr="Presentation with bar chart">
                <a:extLst>
                  <a:ext uri="{FF2B5EF4-FFF2-40B4-BE49-F238E27FC236}">
                    <a16:creationId xmlns:a16="http://schemas.microsoft.com/office/drawing/2014/main" id="{C13A9F5C-F76B-4841-BB4D-C17A232830E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8936081" y="4187808"/>
                <a:ext cx="497570" cy="497570"/>
              </a:xfrm>
              <a:prstGeom prst="rect">
                <a:avLst/>
              </a:prstGeom>
            </p:spPr>
          </p:pic>
        </p:grpSp>
        <p:sp>
          <p:nvSpPr>
            <p:cNvPr id="33" name="Arrow: Right 59">
              <a:extLst>
                <a:ext uri="{FF2B5EF4-FFF2-40B4-BE49-F238E27FC236}">
                  <a16:creationId xmlns:a16="http://schemas.microsoft.com/office/drawing/2014/main" id="{F0E07C58-6D08-45BD-85B5-926C5DF81F8D}"/>
                </a:ext>
              </a:extLst>
            </p:cNvPr>
            <p:cNvSpPr/>
            <p:nvPr/>
          </p:nvSpPr>
          <p:spPr>
            <a:xfrm>
              <a:off x="8394965" y="3789438"/>
              <a:ext cx="345325" cy="384939"/>
            </a:xfrm>
            <a:prstGeom prst="rightArrow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1629" rtlCol="0" anchor="ctr"/>
            <a:lstStyle/>
            <a:p>
              <a:pPr algn="ctr"/>
              <a:endParaRPr lang="x-none" sz="1633"/>
            </a:p>
          </p:txBody>
        </p:sp>
      </p:grp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04397459-2BB7-4DD2-B9FF-91B1E39245E5}"/>
              </a:ext>
            </a:extLst>
          </p:cNvPr>
          <p:cNvSpPr txBox="1">
            <a:spLocks/>
          </p:cNvSpPr>
          <p:nvPr/>
        </p:nvSpPr>
        <p:spPr>
          <a:xfrm>
            <a:off x="548205" y="2023755"/>
            <a:ext cx="2441983" cy="32004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 marL="180975" indent="-180975" algn="l" defTabSz="997120" rtl="0" eaLnBrk="1" latinLnBrk="0" hangingPunct="1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●"/>
              <a:defRPr lang="en-GB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76213" algn="l" defTabSz="99712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68275" algn="l" defTabSz="99712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1450" algn="l" defTabSz="99712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spcBef>
                <a:spcPct val="200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dirty="0">
                <a:solidFill>
                  <a:srgbClr val="FFFFFF"/>
                </a:solidFill>
              </a:rPr>
              <a:t>Data Pipelin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CFE9A3E5-80DA-3789-EA6E-6AF4CE12F160}"/>
              </a:ext>
            </a:extLst>
          </p:cNvPr>
          <p:cNvSpPr txBox="1">
            <a:spLocks/>
          </p:cNvSpPr>
          <p:nvPr/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9712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sz="2200" b="0" i="0" kern="1200" cap="none" baseline="0">
                <a:solidFill>
                  <a:schemeClr val="tx1"/>
                </a:solidFill>
                <a:latin typeface="+mj-lt"/>
                <a:ea typeface="Roboto" panose="02000000000000000000" pitchFamily="2" charset="0"/>
                <a:cs typeface="Calibri" panose="020F0502020204030204" pitchFamily="34" charset="0"/>
              </a:defRPr>
            </a:lvl1pPr>
          </a:lstStyle>
          <a:p>
            <a:r>
              <a:rPr lang="en-GB" sz="2400" dirty="0"/>
              <a:t>Capital Four Collaboration</a:t>
            </a:r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CFEF1975-FD46-0CB0-8116-3A80CD2B9602}"/>
              </a:ext>
            </a:extLst>
          </p:cNvPr>
          <p:cNvSpPr txBox="1">
            <a:spLocks/>
          </p:cNvSpPr>
          <p:nvPr/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/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(If this is something C4 wants to look further into)</a:t>
            </a:r>
            <a:endParaRPr lang="en-GB" dirty="0"/>
          </a:p>
        </p:txBody>
      </p:sp>
      <p:pic>
        <p:nvPicPr>
          <p:cNvPr id="4" name="Graphic 3" descr="Database">
            <a:extLst>
              <a:ext uri="{FF2B5EF4-FFF2-40B4-BE49-F238E27FC236}">
                <a16:creationId xmlns:a16="http://schemas.microsoft.com/office/drawing/2014/main" id="{2989F8C3-3E58-9D07-202A-BD745244D7B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54303" y="4040977"/>
            <a:ext cx="513974" cy="513974"/>
          </a:xfrm>
          <a:prstGeom prst="rect">
            <a:avLst/>
          </a:prstGeom>
        </p:spPr>
      </p:pic>
      <p:pic>
        <p:nvPicPr>
          <p:cNvPr id="38" name="Graphic 37" descr="Document">
            <a:extLst>
              <a:ext uri="{FF2B5EF4-FFF2-40B4-BE49-F238E27FC236}">
                <a16:creationId xmlns:a16="http://schemas.microsoft.com/office/drawing/2014/main" id="{033FDFB6-5220-1AC5-F650-300997768D2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33873" y="4075918"/>
            <a:ext cx="479033" cy="479033"/>
          </a:xfrm>
          <a:prstGeom prst="rect">
            <a:avLst/>
          </a:prstGeom>
        </p:spPr>
      </p:pic>
      <p:pic>
        <p:nvPicPr>
          <p:cNvPr id="40" name="Graphic 39" descr="Document">
            <a:extLst>
              <a:ext uri="{FF2B5EF4-FFF2-40B4-BE49-F238E27FC236}">
                <a16:creationId xmlns:a16="http://schemas.microsoft.com/office/drawing/2014/main" id="{A23279BF-C95D-9026-7414-97BF92573FF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37018" y="3655150"/>
            <a:ext cx="479033" cy="479033"/>
          </a:xfrm>
          <a:prstGeom prst="rect">
            <a:avLst/>
          </a:prstGeom>
        </p:spPr>
      </p:pic>
      <p:pic>
        <p:nvPicPr>
          <p:cNvPr id="41" name="Graphic 40" descr="Database">
            <a:extLst>
              <a:ext uri="{FF2B5EF4-FFF2-40B4-BE49-F238E27FC236}">
                <a16:creationId xmlns:a16="http://schemas.microsoft.com/office/drawing/2014/main" id="{25078909-4B72-2EA9-C2A0-4513B311271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283183" y="3463244"/>
            <a:ext cx="513974" cy="513974"/>
          </a:xfrm>
          <a:prstGeom prst="rect">
            <a:avLst/>
          </a:prstGeom>
        </p:spPr>
      </p:pic>
      <p:pic>
        <p:nvPicPr>
          <p:cNvPr id="1026" name="Picture 2" descr="Open Ai Logo PNG Vectors Free Download">
            <a:extLst>
              <a:ext uri="{FF2B5EF4-FFF2-40B4-BE49-F238E27FC236}">
                <a16:creationId xmlns:a16="http://schemas.microsoft.com/office/drawing/2014/main" id="{FE0D24DC-A667-F798-0B4F-4C249AA9F5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1286" y="3645929"/>
            <a:ext cx="393793" cy="399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python&quot; Icon - Download for free – Iconduck">
            <a:extLst>
              <a:ext uri="{FF2B5EF4-FFF2-40B4-BE49-F238E27FC236}">
                <a16:creationId xmlns:a16="http://schemas.microsoft.com/office/drawing/2014/main" id="{D8A22596-B272-0D65-0F56-C5D94A4B9E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6859" y="4105187"/>
            <a:ext cx="450995" cy="455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Arrow: Right 59">
            <a:extLst>
              <a:ext uri="{FF2B5EF4-FFF2-40B4-BE49-F238E27FC236}">
                <a16:creationId xmlns:a16="http://schemas.microsoft.com/office/drawing/2014/main" id="{7249D1AC-372E-8D28-F505-2A255963F296}"/>
              </a:ext>
            </a:extLst>
          </p:cNvPr>
          <p:cNvSpPr/>
          <p:nvPr/>
        </p:nvSpPr>
        <p:spPr>
          <a:xfrm>
            <a:off x="1810572" y="4142520"/>
            <a:ext cx="313207" cy="349136"/>
          </a:xfrm>
          <a:prstGeom prst="rightArrow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29" rtlCol="0" anchor="ctr"/>
          <a:lstStyle/>
          <a:p>
            <a:pPr algn="ctr"/>
            <a:endParaRPr lang="x-none" sz="1633"/>
          </a:p>
        </p:txBody>
      </p:sp>
      <p:pic>
        <p:nvPicPr>
          <p:cNvPr id="43" name="Graphic 42" descr="Document">
            <a:extLst>
              <a:ext uri="{FF2B5EF4-FFF2-40B4-BE49-F238E27FC236}">
                <a16:creationId xmlns:a16="http://schemas.microsoft.com/office/drawing/2014/main" id="{12D12F59-CFA0-7B0C-37CC-33B1D5BBF97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30728" y="4490680"/>
            <a:ext cx="479033" cy="479033"/>
          </a:xfrm>
          <a:prstGeom prst="rect">
            <a:avLst/>
          </a:prstGeom>
        </p:spPr>
      </p:pic>
      <p:pic>
        <p:nvPicPr>
          <p:cNvPr id="1030" name="Picture 6" descr="Robot - Free vector emoji on creazilla.com">
            <a:extLst>
              <a:ext uri="{FF2B5EF4-FFF2-40B4-BE49-F238E27FC236}">
                <a16:creationId xmlns:a16="http://schemas.microsoft.com/office/drawing/2014/main" id="{90B64C66-038D-028B-EA21-413F469A77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0636" y="3909799"/>
            <a:ext cx="614190" cy="614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AutoShape 10" descr="Free Meta Logo Icon">
            <a:extLst>
              <a:ext uri="{FF2B5EF4-FFF2-40B4-BE49-F238E27FC236}">
                <a16:creationId xmlns:a16="http://schemas.microsoft.com/office/drawing/2014/main" id="{1A9198C6-7B70-6258-47F3-6FFEF6EA2B6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194300" y="3627438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036" name="Picture 12" descr="Meta - ícones de mídia social grátis">
            <a:extLst>
              <a:ext uri="{FF2B5EF4-FFF2-40B4-BE49-F238E27FC236}">
                <a16:creationId xmlns:a16="http://schemas.microsoft.com/office/drawing/2014/main" id="{641A0EF9-E3E9-C589-D619-9A6A9DB938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7479" y="4088677"/>
            <a:ext cx="513974" cy="5139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Mistral AI Icon Logo PNG Vector (SVG) Free Download">
            <a:extLst>
              <a:ext uri="{FF2B5EF4-FFF2-40B4-BE49-F238E27FC236}">
                <a16:creationId xmlns:a16="http://schemas.microsoft.com/office/drawing/2014/main" id="{83E60D42-A06A-3273-C7FF-319F1FE291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7897" y="4600734"/>
            <a:ext cx="463398" cy="421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Content Placeholder 4">
            <a:extLst>
              <a:ext uri="{FF2B5EF4-FFF2-40B4-BE49-F238E27FC236}">
                <a16:creationId xmlns:a16="http://schemas.microsoft.com/office/drawing/2014/main" id="{DAD48244-E077-C3A4-F9CE-EFB775625969}"/>
              </a:ext>
            </a:extLst>
          </p:cNvPr>
          <p:cNvSpPr txBox="1">
            <a:spLocks/>
          </p:cNvSpPr>
          <p:nvPr/>
        </p:nvSpPr>
        <p:spPr>
          <a:xfrm>
            <a:off x="395202" y="6385682"/>
            <a:ext cx="8951199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/>
              <a:t>Either way, the data pipeline step will prepare prospectuses for future research!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9772989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6y2EJG1E9qXHK28K1EO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CaIKlTPGVb4ItfCZYfR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uI3MV7MKvk1niZe8jZ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ln7aHC.r3LC1GdceZi8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1d849273-9362-4206-a1ed-a9fa0b8b658f"/>
  <p:tag name="MIO_UPDATE" val="True"/>
  <p:tag name="MIO_VERSION" val="14.01.2021 19:59:35"/>
  <p:tag name="MIO_DBID" val="85B97FBE-4A9B-4030-92F8-88B1B5AA728D"/>
  <p:tag name="MIO_LASTDOWNLOADED" val="17.01.2021 19:16:50"/>
  <p:tag name="MIO_OBJECTNAME" val="Capital Four"/>
  <p:tag name="MIO_CDID" val="6a2c0e1b-85b7-448b-aade-8d010c3b2222"/>
  <p:tag name="MIO_FALLBACK_LAYOUT" val="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6y2EJG1E9qXHK28K1E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6y2EJG1E9qXHK28K1EO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apital Four Colors">
      <a:dk1>
        <a:srgbClr val="423D36"/>
      </a:dk1>
      <a:lt1>
        <a:srgbClr val="E9E4DE"/>
      </a:lt1>
      <a:dk2>
        <a:srgbClr val="948C84"/>
      </a:dk2>
      <a:lt2>
        <a:srgbClr val="F8F7F5"/>
      </a:lt2>
      <a:accent1>
        <a:srgbClr val="948C84"/>
      </a:accent1>
      <a:accent2>
        <a:srgbClr val="027337"/>
      </a:accent2>
      <a:accent3>
        <a:srgbClr val="09A680"/>
      </a:accent3>
      <a:accent4>
        <a:srgbClr val="4C6112"/>
      </a:accent4>
      <a:accent5>
        <a:srgbClr val="98A43A"/>
      </a:accent5>
      <a:accent6>
        <a:srgbClr val="D1BA00"/>
      </a:accent6>
      <a:hlink>
        <a:srgbClr val="152C3D"/>
      </a:hlink>
      <a:folHlink>
        <a:srgbClr val="45454A"/>
      </a:folHlink>
    </a:clrScheme>
    <a:fontScheme name="Capital Four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101</TotalTime>
  <Words>739</Words>
  <Application>Microsoft Office PowerPoint</Application>
  <PresentationFormat>Custom</PresentationFormat>
  <Paragraphs>68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Roboto Mono</vt:lpstr>
      <vt:lpstr>Arial</vt:lpstr>
      <vt:lpstr>Avenir Next LT Pro</vt:lpstr>
      <vt:lpstr>Calibri</vt:lpstr>
      <vt:lpstr>Roboto</vt:lpstr>
      <vt:lpstr>Office Theme</vt:lpstr>
      <vt:lpstr>think-cell Slide</vt:lpstr>
      <vt:lpstr>C4 Fundamental Score meets NLP</vt:lpstr>
      <vt:lpstr>LLMs Analyzing Bond Prospectuses - General Idea</vt:lpstr>
      <vt:lpstr>Example - Market Dynamics, Analyst vs LLM</vt:lpstr>
      <vt:lpstr>PowerPoint Presentation</vt:lpstr>
    </vt:vector>
  </TitlesOfParts>
  <Company>Goldman Sachs &amp; C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ital Four</dc:title>
  <dc:creator>rrankin</dc:creator>
  <cp:lastModifiedBy>Pierre Høgenhaug</cp:lastModifiedBy>
  <cp:revision>1759</cp:revision>
  <cp:lastPrinted>2020-08-17T11:08:44Z</cp:lastPrinted>
  <dcterms:created xsi:type="dcterms:W3CDTF">2012-12-10T20:52:52Z</dcterms:created>
  <dcterms:modified xsi:type="dcterms:W3CDTF">2024-10-09T15:56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TopsCleaned">
    <vt:lpwstr>True</vt:lpwstr>
  </property>
  <property fmtid="{D5CDD505-2E9C-101B-9397-08002B2CF9AE}" pid="3" name="Project">
    <vt:lpwstr>ibdroot</vt:lpwstr>
  </property>
  <property fmtid="{D5CDD505-2E9C-101B-9397-08002B2CF9AE}" pid="4" name="ShowHideDoctop">
    <vt:lpwstr>False</vt:lpwstr>
  </property>
  <property fmtid="{D5CDD505-2E9C-101B-9397-08002B2CF9AE}" pid="5" name="MSIP_Label_b192c15a-43d0-45bf-bc6e-e51cf85b1ef6_Enabled">
    <vt:lpwstr>true</vt:lpwstr>
  </property>
  <property fmtid="{D5CDD505-2E9C-101B-9397-08002B2CF9AE}" pid="6" name="MSIP_Label_b192c15a-43d0-45bf-bc6e-e51cf85b1ef6_SetDate">
    <vt:lpwstr>2024-03-06T09:20:51Z</vt:lpwstr>
  </property>
  <property fmtid="{D5CDD505-2E9C-101B-9397-08002B2CF9AE}" pid="7" name="MSIP_Label_b192c15a-43d0-45bf-bc6e-e51cf85b1ef6_Method">
    <vt:lpwstr>Standard</vt:lpwstr>
  </property>
  <property fmtid="{D5CDD505-2E9C-101B-9397-08002B2CF9AE}" pid="8" name="MSIP_Label_b192c15a-43d0-45bf-bc6e-e51cf85b1ef6_Name">
    <vt:lpwstr>defa4170-0d19-0005-0004-bc88714345d2</vt:lpwstr>
  </property>
  <property fmtid="{D5CDD505-2E9C-101B-9397-08002B2CF9AE}" pid="9" name="MSIP_Label_b192c15a-43d0-45bf-bc6e-e51cf85b1ef6_SiteId">
    <vt:lpwstr>62c5eb46-d129-44dd-91fd-47d9e6a17d69</vt:lpwstr>
  </property>
  <property fmtid="{D5CDD505-2E9C-101B-9397-08002B2CF9AE}" pid="10" name="MSIP_Label_b192c15a-43d0-45bf-bc6e-e51cf85b1ef6_ActionId">
    <vt:lpwstr>e362882f-d20a-437f-9e7a-494fbffe3992</vt:lpwstr>
  </property>
  <property fmtid="{D5CDD505-2E9C-101B-9397-08002B2CF9AE}" pid="11" name="MSIP_Label_b192c15a-43d0-45bf-bc6e-e51cf85b1ef6_ContentBits">
    <vt:lpwstr>0</vt:lpwstr>
  </property>
</Properties>
</file>